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60" r:id="rId2"/>
    <p:sldId id="2147473058" r:id="rId3"/>
    <p:sldId id="264" r:id="rId4"/>
    <p:sldId id="2147473057" r:id="rId5"/>
    <p:sldId id="261" r:id="rId6"/>
    <p:sldId id="262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0870D5F3-C73F-4A27-8CCC-BD3811874C00}">
          <p14:sldIdLst>
            <p14:sldId id="260"/>
            <p14:sldId id="2147473058"/>
            <p14:sldId id="264"/>
          </p14:sldIdLst>
        </p14:section>
        <p14:section name="Exhibits" id="{797B6772-EAF0-42C7-9E78-99EE663ED97F}">
          <p14:sldIdLst>
            <p14:sldId id="2147473057"/>
            <p14:sldId id="261"/>
            <p14:sldId id="2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065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5" orient="horz" pos="2251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3011768-4193-A38E-BD72-B2BE9B79E246}" name="Vedang Poddar" initials="VP" userId="S::Vedang.Poddar2026@bitsom.edu.in::db7cd9a2-6584-4ffe-b5dc-9b2c028584de" providerId="AD"/>
  <p188:author id="{8017C570-BBAA-1C14-0584-3F9FA60D1B98}" name="Riya Arolkar" initials="RA" userId="S::Riya.Arolkar2026@bitsom.edu.in::aeaa9c71-c623-4bd0-b210-cb6ffabcc789" providerId="AD"/>
  <p188:author id="{7DA327FC-F619-ABEF-122B-FB0E49134EF5}" name="Kartik Sharma" initials="KS" userId="S::Kartik.Sharma2026@bitsom.edu.in::ffa8ac3b-451c-4bd9-94d7-072893ce2c8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D1E27"/>
    <a:srgbClr val="F6CDD3"/>
    <a:srgbClr val="CE8E93"/>
    <a:srgbClr val="D7F1E6"/>
    <a:srgbClr val="D0D7E9"/>
    <a:srgbClr val="FFFBDC"/>
    <a:srgbClr val="01563F"/>
    <a:srgbClr val="FFFFFF"/>
    <a:srgbClr val="F5B8C7"/>
    <a:srgbClr val="F6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F2CF843-C8F4-4281-B5FE-076A18FB8D86}" v="10287" dt="2025-09-10T20:34:36.7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4065"/>
        <p:guide pos="3840"/>
        <p:guide orient="horz" pos="2251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microsoft.com/office/2018/10/relationships/authors" Target="authors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a Jha" userId="S::ria.jha2026@bitsom.edu.in::8589c87f-6000-4143-bd88-dc2330063ed3" providerId="AD" clId="Web-{C3FDBD13-8FE3-C240-818A-524020854DA8}"/>
    <pc:docChg chg="modSld">
      <pc:chgData name="Ria Jha" userId="S::ria.jha2026@bitsom.edu.in::8589c87f-6000-4143-bd88-dc2330063ed3" providerId="AD" clId="Web-{C3FDBD13-8FE3-C240-818A-524020854DA8}" dt="2025-08-31T17:59:50.366" v="6" actId="20577"/>
      <pc:docMkLst>
        <pc:docMk/>
      </pc:docMkLst>
      <pc:sldChg chg="modSp">
        <pc:chgData name="Ria Jha" userId="S::ria.jha2026@bitsom.edu.in::8589c87f-6000-4143-bd88-dc2330063ed3" providerId="AD" clId="Web-{C3FDBD13-8FE3-C240-818A-524020854DA8}" dt="2025-08-31T17:57:28.454" v="1" actId="1076"/>
        <pc:sldMkLst>
          <pc:docMk/>
          <pc:sldMk cId="2234501928" sldId="260"/>
        </pc:sldMkLst>
        <pc:spChg chg="mod">
          <ac:chgData name="Ria Jha" userId="S::ria.jha2026@bitsom.edu.in::8589c87f-6000-4143-bd88-dc2330063ed3" providerId="AD" clId="Web-{C3FDBD13-8FE3-C240-818A-524020854DA8}" dt="2025-08-31T17:57:28.454" v="1" actId="1076"/>
          <ac:spMkLst>
            <pc:docMk/>
            <pc:sldMk cId="2234501928" sldId="260"/>
            <ac:spMk id="21" creationId="{C8531C89-F18B-036A-664E-ABAEDB601839}"/>
          </ac:spMkLst>
        </pc:spChg>
      </pc:sldChg>
      <pc:sldChg chg="modSp">
        <pc:chgData name="Ria Jha" userId="S::ria.jha2026@bitsom.edu.in::8589c87f-6000-4143-bd88-dc2330063ed3" providerId="AD" clId="Web-{C3FDBD13-8FE3-C240-818A-524020854DA8}" dt="2025-08-31T17:59:50.366" v="6" actId="20577"/>
        <pc:sldMkLst>
          <pc:docMk/>
          <pc:sldMk cId="848436090" sldId="264"/>
        </pc:sldMkLst>
        <pc:spChg chg="mod">
          <ac:chgData name="Ria Jha" userId="S::ria.jha2026@bitsom.edu.in::8589c87f-6000-4143-bd88-dc2330063ed3" providerId="AD" clId="Web-{C3FDBD13-8FE3-C240-818A-524020854DA8}" dt="2025-08-31T17:59:50.366" v="6" actId="20577"/>
          <ac:spMkLst>
            <pc:docMk/>
            <pc:sldMk cId="848436090" sldId="264"/>
            <ac:spMk id="81" creationId="{8B78F1C4-D375-FBE9-F9DB-8D68F7F8541D}"/>
          </ac:spMkLst>
        </pc:spChg>
      </pc:sldChg>
    </pc:docChg>
  </pc:docChgLst>
  <pc:docChgLst>
    <pc:chgData name="Kartik Sharma" userId="ffa8ac3b-451c-4bd9-94d7-072893ce2c8d" providerId="ADAL" clId="{6F9B4BD6-F322-4302-BF2E-99EC62EF70B0}"/>
    <pc:docChg chg="undo custSel addSld delSld modSld sldOrd addSection modSection">
      <pc:chgData name="Kartik Sharma" userId="ffa8ac3b-451c-4bd9-94d7-072893ce2c8d" providerId="ADAL" clId="{6F9B4BD6-F322-4302-BF2E-99EC62EF70B0}" dt="2025-08-31T19:08:15.225" v="3846" actId="478"/>
      <pc:docMkLst>
        <pc:docMk/>
      </pc:docMkLst>
      <pc:sldChg chg="addSp modSp del mod">
        <pc:chgData name="Kartik Sharma" userId="ffa8ac3b-451c-4bd9-94d7-072893ce2c8d" providerId="ADAL" clId="{6F9B4BD6-F322-4302-BF2E-99EC62EF70B0}" dt="2025-08-30T14:37:55.832" v="167" actId="2696"/>
        <pc:sldMkLst>
          <pc:docMk/>
          <pc:sldMk cId="446759100" sldId="258"/>
        </pc:sldMkLst>
      </pc:sldChg>
      <pc:sldChg chg="addSp delSp modSp add mod ord">
        <pc:chgData name="Kartik Sharma" userId="ffa8ac3b-451c-4bd9-94d7-072893ce2c8d" providerId="ADAL" clId="{6F9B4BD6-F322-4302-BF2E-99EC62EF70B0}" dt="2025-08-31T18:49:58.434" v="3665" actId="478"/>
        <pc:sldMkLst>
          <pc:docMk/>
          <pc:sldMk cId="2234501928" sldId="260"/>
        </pc:sldMkLst>
        <pc:spChg chg="add del mod topLvl">
          <ac:chgData name="Kartik Sharma" userId="ffa8ac3b-451c-4bd9-94d7-072893ce2c8d" providerId="ADAL" clId="{6F9B4BD6-F322-4302-BF2E-99EC62EF70B0}" dt="2025-08-31T18:11:45.055" v="3401" actId="1076"/>
          <ac:spMkLst>
            <pc:docMk/>
            <pc:sldMk cId="2234501928" sldId="260"/>
            <ac:spMk id="6" creationId="{E8238A5C-3C9A-E732-353A-89473C554383}"/>
          </ac:spMkLst>
        </pc:spChg>
        <pc:spChg chg="mod">
          <ac:chgData name="Kartik Sharma" userId="ffa8ac3b-451c-4bd9-94d7-072893ce2c8d" providerId="ADAL" clId="{6F9B4BD6-F322-4302-BF2E-99EC62EF70B0}" dt="2025-08-31T18:36:10.372" v="3495" actId="1036"/>
          <ac:spMkLst>
            <pc:docMk/>
            <pc:sldMk cId="2234501928" sldId="260"/>
            <ac:spMk id="31" creationId="{FF8D98EA-E9D5-7B1A-75F9-84C6D2B11B57}"/>
          </ac:spMkLst>
        </pc:spChg>
        <pc:spChg chg="mod">
          <ac:chgData name="Kartik Sharma" userId="ffa8ac3b-451c-4bd9-94d7-072893ce2c8d" providerId="ADAL" clId="{6F9B4BD6-F322-4302-BF2E-99EC62EF70B0}" dt="2025-08-31T18:36:10.372" v="3495" actId="1036"/>
          <ac:spMkLst>
            <pc:docMk/>
            <pc:sldMk cId="2234501928" sldId="260"/>
            <ac:spMk id="32" creationId="{7FF10233-32A7-6ED6-146B-143FDD4550B5}"/>
          </ac:spMkLst>
        </pc:spChg>
        <pc:spChg chg="mod">
          <ac:chgData name="Kartik Sharma" userId="ffa8ac3b-451c-4bd9-94d7-072893ce2c8d" providerId="ADAL" clId="{6F9B4BD6-F322-4302-BF2E-99EC62EF70B0}" dt="2025-08-31T18:36:10.372" v="3495" actId="1036"/>
          <ac:spMkLst>
            <pc:docMk/>
            <pc:sldMk cId="2234501928" sldId="260"/>
            <ac:spMk id="33" creationId="{9DBDD1A7-A4F0-0202-5EA1-2030F3AF4BBE}"/>
          </ac:spMkLst>
        </pc:spChg>
        <pc:picChg chg="mod">
          <ac:chgData name="Kartik Sharma" userId="ffa8ac3b-451c-4bd9-94d7-072893ce2c8d" providerId="ADAL" clId="{6F9B4BD6-F322-4302-BF2E-99EC62EF70B0}" dt="2025-08-30T14:34:24.791" v="83" actId="1036"/>
          <ac:picMkLst>
            <pc:docMk/>
            <pc:sldMk cId="2234501928" sldId="260"/>
            <ac:picMk id="2" creationId="{1ED3067B-70E7-E46F-539D-25446A4756A8}"/>
          </ac:picMkLst>
        </pc:picChg>
        <pc:picChg chg="mod">
          <ac:chgData name="Kartik Sharma" userId="ffa8ac3b-451c-4bd9-94d7-072893ce2c8d" providerId="ADAL" clId="{6F9B4BD6-F322-4302-BF2E-99EC62EF70B0}" dt="2025-08-31T18:36:10.372" v="3495" actId="1036"/>
          <ac:picMkLst>
            <pc:docMk/>
            <pc:sldMk cId="2234501928" sldId="260"/>
            <ac:picMk id="24" creationId="{75E6DBD6-CE0A-9E67-146D-CAA984EEAA1D}"/>
          </ac:picMkLst>
        </pc:picChg>
        <pc:picChg chg="mod">
          <ac:chgData name="Kartik Sharma" userId="ffa8ac3b-451c-4bd9-94d7-072893ce2c8d" providerId="ADAL" clId="{6F9B4BD6-F322-4302-BF2E-99EC62EF70B0}" dt="2025-08-31T18:36:10.372" v="3495" actId="1036"/>
          <ac:picMkLst>
            <pc:docMk/>
            <pc:sldMk cId="2234501928" sldId="260"/>
            <ac:picMk id="28" creationId="{8965175A-0EE2-FF9E-3AB3-E7F50FBFA797}"/>
          </ac:picMkLst>
        </pc:picChg>
        <pc:picChg chg="mod">
          <ac:chgData name="Kartik Sharma" userId="ffa8ac3b-451c-4bd9-94d7-072893ce2c8d" providerId="ADAL" clId="{6F9B4BD6-F322-4302-BF2E-99EC62EF70B0}" dt="2025-08-31T18:35:54.891" v="3482" actId="1076"/>
          <ac:picMkLst>
            <pc:docMk/>
            <pc:sldMk cId="2234501928" sldId="260"/>
            <ac:picMk id="2050" creationId="{901F93B8-BB8E-66D9-CFE0-1B4BC17830AA}"/>
          </ac:picMkLst>
        </pc:picChg>
        <pc:picChg chg="mod">
          <ac:chgData name="Kartik Sharma" userId="ffa8ac3b-451c-4bd9-94d7-072893ce2c8d" providerId="ADAL" clId="{6F9B4BD6-F322-4302-BF2E-99EC62EF70B0}" dt="2025-08-31T18:36:10.372" v="3495" actId="1036"/>
          <ac:picMkLst>
            <pc:docMk/>
            <pc:sldMk cId="2234501928" sldId="260"/>
            <ac:picMk id="2052" creationId="{990B2927-74F3-4039-7622-04C56F42CBD9}"/>
          </ac:picMkLst>
        </pc:picChg>
        <pc:cxnChg chg="add del mod">
          <ac:chgData name="Kartik Sharma" userId="ffa8ac3b-451c-4bd9-94d7-072893ce2c8d" providerId="ADAL" clId="{6F9B4BD6-F322-4302-BF2E-99EC62EF70B0}" dt="2025-08-31T18:49:54.325" v="3662" actId="478"/>
          <ac:cxnSpMkLst>
            <pc:docMk/>
            <pc:sldMk cId="2234501928" sldId="260"/>
            <ac:cxnSpMk id="10" creationId="{9CE8D8C9-8832-C78E-1F63-A3944099A3FF}"/>
          </ac:cxnSpMkLst>
        </pc:cxnChg>
      </pc:sldChg>
      <pc:sldChg chg="add del">
        <pc:chgData name="Kartik Sharma" userId="ffa8ac3b-451c-4bd9-94d7-072893ce2c8d" providerId="ADAL" clId="{6F9B4BD6-F322-4302-BF2E-99EC62EF70B0}" dt="2025-08-30T14:30:38.881" v="58" actId="2696"/>
        <pc:sldMkLst>
          <pc:docMk/>
          <pc:sldMk cId="2401956108" sldId="260"/>
        </pc:sldMkLst>
      </pc:sldChg>
      <pc:sldChg chg="addSp delSp modSp add mod">
        <pc:chgData name="Kartik Sharma" userId="ffa8ac3b-451c-4bd9-94d7-072893ce2c8d" providerId="ADAL" clId="{6F9B4BD6-F322-4302-BF2E-99EC62EF70B0}" dt="2025-08-31T18:09:31.600" v="3382" actId="108"/>
        <pc:sldMkLst>
          <pc:docMk/>
          <pc:sldMk cId="1920365695" sldId="261"/>
        </pc:sldMkLst>
        <pc:spChg chg="add mod">
          <ac:chgData name="Kartik Sharma" userId="ffa8ac3b-451c-4bd9-94d7-072893ce2c8d" providerId="ADAL" clId="{6F9B4BD6-F322-4302-BF2E-99EC62EF70B0}" dt="2025-08-31T18:09:17.348" v="3379"/>
          <ac:spMkLst>
            <pc:docMk/>
            <pc:sldMk cId="1920365695" sldId="261"/>
            <ac:spMk id="4" creationId="{49398433-4017-960C-652B-0E6747728D8C}"/>
          </ac:spMkLst>
        </pc:spChg>
        <pc:spChg chg="add mod">
          <ac:chgData name="Kartik Sharma" userId="ffa8ac3b-451c-4bd9-94d7-072893ce2c8d" providerId="ADAL" clId="{6F9B4BD6-F322-4302-BF2E-99EC62EF70B0}" dt="2025-08-31T18:09:09.978" v="3378"/>
          <ac:spMkLst>
            <pc:docMk/>
            <pc:sldMk cId="1920365695" sldId="261"/>
            <ac:spMk id="5" creationId="{07ADA312-BD14-14FC-62CC-B8FBE13A43C8}"/>
          </ac:spMkLst>
        </pc:spChg>
        <pc:spChg chg="add mod">
          <ac:chgData name="Kartik Sharma" userId="ffa8ac3b-451c-4bd9-94d7-072893ce2c8d" providerId="ADAL" clId="{6F9B4BD6-F322-4302-BF2E-99EC62EF70B0}" dt="2025-08-31T18:09:31.600" v="3382" actId="108"/>
          <ac:spMkLst>
            <pc:docMk/>
            <pc:sldMk cId="1920365695" sldId="261"/>
            <ac:spMk id="6" creationId="{8E96D453-312E-9A07-59CA-3915523863AA}"/>
          </ac:spMkLst>
        </pc:spChg>
        <pc:spChg chg="add mod">
          <ac:chgData name="Kartik Sharma" userId="ffa8ac3b-451c-4bd9-94d7-072893ce2c8d" providerId="ADAL" clId="{6F9B4BD6-F322-4302-BF2E-99EC62EF70B0}" dt="2025-08-31T18:09:27.937" v="3381" actId="108"/>
          <ac:spMkLst>
            <pc:docMk/>
            <pc:sldMk cId="1920365695" sldId="261"/>
            <ac:spMk id="7" creationId="{B2E00820-6E43-0FEE-4C85-74AF2952249F}"/>
          </ac:spMkLst>
        </pc:spChg>
        <pc:spChg chg="add mod">
          <ac:chgData name="Kartik Sharma" userId="ffa8ac3b-451c-4bd9-94d7-072893ce2c8d" providerId="ADAL" clId="{6F9B4BD6-F322-4302-BF2E-99EC62EF70B0}" dt="2025-08-31T18:08:55.513" v="3377"/>
          <ac:spMkLst>
            <pc:docMk/>
            <pc:sldMk cId="1920365695" sldId="261"/>
            <ac:spMk id="8" creationId="{DDA9C9C1-E5BF-31E8-B383-C24625EF3342}"/>
          </ac:spMkLst>
        </pc:spChg>
      </pc:sldChg>
      <pc:sldChg chg="addSp delSp modSp add mod">
        <pc:chgData name="Kartik Sharma" userId="ffa8ac3b-451c-4bd9-94d7-072893ce2c8d" providerId="ADAL" clId="{6F9B4BD6-F322-4302-BF2E-99EC62EF70B0}" dt="2025-08-31T18:33:35.770" v="3474" actId="14100"/>
        <pc:sldMkLst>
          <pc:docMk/>
          <pc:sldMk cId="783413265" sldId="262"/>
        </pc:sldMkLst>
        <pc:spChg chg="mod">
          <ac:chgData name="Kartik Sharma" userId="ffa8ac3b-451c-4bd9-94d7-072893ce2c8d" providerId="ADAL" clId="{6F9B4BD6-F322-4302-BF2E-99EC62EF70B0}" dt="2025-08-31T18:10:00.878" v="3387" actId="1076"/>
          <ac:spMkLst>
            <pc:docMk/>
            <pc:sldMk cId="783413265" sldId="262"/>
            <ac:spMk id="3" creationId="{D203D817-BF9C-35EB-1551-D8568847E5FF}"/>
          </ac:spMkLst>
        </pc:spChg>
        <pc:spChg chg="add mod">
          <ac:chgData name="Kartik Sharma" userId="ffa8ac3b-451c-4bd9-94d7-072893ce2c8d" providerId="ADAL" clId="{6F9B4BD6-F322-4302-BF2E-99EC62EF70B0}" dt="2025-08-31T18:09:56.944" v="3386"/>
          <ac:spMkLst>
            <pc:docMk/>
            <pc:sldMk cId="783413265" sldId="262"/>
            <ac:spMk id="17" creationId="{C53909DE-0AFF-1322-4DCC-ECF0206FB9F3}"/>
          </ac:spMkLst>
        </pc:spChg>
        <pc:spChg chg="add mod">
          <ac:chgData name="Kartik Sharma" userId="ffa8ac3b-451c-4bd9-94d7-072893ce2c8d" providerId="ADAL" clId="{6F9B4BD6-F322-4302-BF2E-99EC62EF70B0}" dt="2025-08-31T18:09:56.944" v="3386"/>
          <ac:spMkLst>
            <pc:docMk/>
            <pc:sldMk cId="783413265" sldId="262"/>
            <ac:spMk id="18" creationId="{A98624B1-7CF9-964D-74E0-2EC775CE8EF7}"/>
          </ac:spMkLst>
        </pc:spChg>
        <pc:spChg chg="add mod">
          <ac:chgData name="Kartik Sharma" userId="ffa8ac3b-451c-4bd9-94d7-072893ce2c8d" providerId="ADAL" clId="{6F9B4BD6-F322-4302-BF2E-99EC62EF70B0}" dt="2025-08-31T18:09:56.944" v="3386"/>
          <ac:spMkLst>
            <pc:docMk/>
            <pc:sldMk cId="783413265" sldId="262"/>
            <ac:spMk id="19" creationId="{ADB60A6B-4BA7-C287-0B6C-E2B58ADC34B9}"/>
          </ac:spMkLst>
        </pc:spChg>
        <pc:spChg chg="add mod">
          <ac:chgData name="Kartik Sharma" userId="ffa8ac3b-451c-4bd9-94d7-072893ce2c8d" providerId="ADAL" clId="{6F9B4BD6-F322-4302-BF2E-99EC62EF70B0}" dt="2025-08-31T18:14:49.376" v="3403" actId="108"/>
          <ac:spMkLst>
            <pc:docMk/>
            <pc:sldMk cId="783413265" sldId="262"/>
            <ac:spMk id="20" creationId="{A1435AE8-AD39-7BA2-90FD-E060F51A3C60}"/>
          </ac:spMkLst>
        </pc:spChg>
        <pc:spChg chg="add mod">
          <ac:chgData name="Kartik Sharma" userId="ffa8ac3b-451c-4bd9-94d7-072893ce2c8d" providerId="ADAL" clId="{6F9B4BD6-F322-4302-BF2E-99EC62EF70B0}" dt="2025-08-31T18:14:46.066" v="3402" actId="108"/>
          <ac:spMkLst>
            <pc:docMk/>
            <pc:sldMk cId="783413265" sldId="262"/>
            <ac:spMk id="21" creationId="{B7A9EF45-337D-4BA0-F752-11D402DE5FCF}"/>
          </ac:spMkLst>
        </pc:spChg>
        <pc:graphicFrameChg chg="mod">
          <ac:chgData name="Kartik Sharma" userId="ffa8ac3b-451c-4bd9-94d7-072893ce2c8d" providerId="ADAL" clId="{6F9B4BD6-F322-4302-BF2E-99EC62EF70B0}" dt="2025-08-31T18:33:35.770" v="3474" actId="14100"/>
          <ac:graphicFrameMkLst>
            <pc:docMk/>
            <pc:sldMk cId="783413265" sldId="262"/>
            <ac:graphicFrameMk id="11" creationId="{AB604452-5286-1E4F-1B49-031D10722271}"/>
          </ac:graphicFrameMkLst>
        </pc:graphicFrameChg>
      </pc:sldChg>
      <pc:sldChg chg="addSp modSp add mod">
        <pc:chgData name="Kartik Sharma" userId="ffa8ac3b-451c-4bd9-94d7-072893ce2c8d" providerId="ADAL" clId="{6F9B4BD6-F322-4302-BF2E-99EC62EF70B0}" dt="2025-08-30T14:48:23.604" v="239" actId="108"/>
        <pc:sldMkLst>
          <pc:docMk/>
          <pc:sldMk cId="1544015432" sldId="263"/>
        </pc:sldMkLst>
      </pc:sldChg>
      <pc:sldChg chg="addSp delSp modSp add mod delAnim modAnim">
        <pc:chgData name="Kartik Sharma" userId="ffa8ac3b-451c-4bd9-94d7-072893ce2c8d" providerId="ADAL" clId="{6F9B4BD6-F322-4302-BF2E-99EC62EF70B0}" dt="2025-08-31T19:05:08.833" v="3821" actId="1076"/>
        <pc:sldMkLst>
          <pc:docMk/>
          <pc:sldMk cId="848436090" sldId="264"/>
        </pc:sldMkLst>
        <pc:spChg chg="mod">
          <ac:chgData name="Kartik Sharma" userId="ffa8ac3b-451c-4bd9-94d7-072893ce2c8d" providerId="ADAL" clId="{6F9B4BD6-F322-4302-BF2E-99EC62EF70B0}" dt="2025-08-31T16:15:07.499" v="2081" actId="113"/>
          <ac:spMkLst>
            <pc:docMk/>
            <pc:sldMk cId="848436090" sldId="264"/>
            <ac:spMk id="3" creationId="{073E9F40-B639-C30B-4307-C5AEFEC640B7}"/>
          </ac:spMkLst>
        </pc:spChg>
        <pc:spChg chg="mod">
          <ac:chgData name="Kartik Sharma" userId="ffa8ac3b-451c-4bd9-94d7-072893ce2c8d" providerId="ADAL" clId="{6F9B4BD6-F322-4302-BF2E-99EC62EF70B0}" dt="2025-08-31T16:26:37.407" v="2171" actId="207"/>
          <ac:spMkLst>
            <pc:docMk/>
            <pc:sldMk cId="848436090" sldId="264"/>
            <ac:spMk id="4" creationId="{D21B59A8-AA77-61D7-9BA8-6A88C0A93C88}"/>
          </ac:spMkLst>
        </pc:spChg>
        <pc:spChg chg="mod">
          <ac:chgData name="Kartik Sharma" userId="ffa8ac3b-451c-4bd9-94d7-072893ce2c8d" providerId="ADAL" clId="{6F9B4BD6-F322-4302-BF2E-99EC62EF70B0}" dt="2025-08-31T16:26:16.111" v="2140" actId="108"/>
          <ac:spMkLst>
            <pc:docMk/>
            <pc:sldMk cId="848436090" sldId="264"/>
            <ac:spMk id="5" creationId="{7F0A1AC6-1F1F-2BC4-17A1-F63353E8B204}"/>
          </ac:spMkLst>
        </pc:spChg>
        <pc:spChg chg="mod">
          <ac:chgData name="Kartik Sharma" userId="ffa8ac3b-451c-4bd9-94d7-072893ce2c8d" providerId="ADAL" clId="{6F9B4BD6-F322-4302-BF2E-99EC62EF70B0}" dt="2025-08-31T16:15:06.932" v="2080" actId="113"/>
          <ac:spMkLst>
            <pc:docMk/>
            <pc:sldMk cId="848436090" sldId="264"/>
            <ac:spMk id="6" creationId="{C8153716-215D-CA70-13DC-065B3A3A5878}"/>
          </ac:spMkLst>
        </pc:spChg>
        <pc:spChg chg="mod">
          <ac:chgData name="Kartik Sharma" userId="ffa8ac3b-451c-4bd9-94d7-072893ce2c8d" providerId="ADAL" clId="{6F9B4BD6-F322-4302-BF2E-99EC62EF70B0}" dt="2025-08-31T16:15:05.210" v="2079" actId="113"/>
          <ac:spMkLst>
            <pc:docMk/>
            <pc:sldMk cId="848436090" sldId="264"/>
            <ac:spMk id="8" creationId="{6662075B-2641-051D-CB8F-F52298AB83D3}"/>
          </ac:spMkLst>
        </pc:spChg>
        <pc:spChg chg="mod">
          <ac:chgData name="Kartik Sharma" userId="ffa8ac3b-451c-4bd9-94d7-072893ce2c8d" providerId="ADAL" clId="{6F9B4BD6-F322-4302-BF2E-99EC62EF70B0}" dt="2025-08-31T18:48:25.822" v="3566" actId="20577"/>
          <ac:spMkLst>
            <pc:docMk/>
            <pc:sldMk cId="848436090" sldId="264"/>
            <ac:spMk id="11" creationId="{028B5CF0-15C7-C0A3-C604-9A4AE131F9FD}"/>
          </ac:spMkLst>
        </pc:spChg>
        <pc:spChg chg="mod">
          <ac:chgData name="Kartik Sharma" userId="ffa8ac3b-451c-4bd9-94d7-072893ce2c8d" providerId="ADAL" clId="{6F9B4BD6-F322-4302-BF2E-99EC62EF70B0}" dt="2025-08-31T18:03:27.390" v="3302"/>
          <ac:spMkLst>
            <pc:docMk/>
            <pc:sldMk cId="848436090" sldId="264"/>
            <ac:spMk id="12" creationId="{1507033D-4BF8-6280-C730-27F0CD10E9C7}"/>
          </ac:spMkLst>
        </pc:spChg>
        <pc:spChg chg="mod">
          <ac:chgData name="Kartik Sharma" userId="ffa8ac3b-451c-4bd9-94d7-072893ce2c8d" providerId="ADAL" clId="{6F9B4BD6-F322-4302-BF2E-99EC62EF70B0}" dt="2025-08-31T18:08:36.284" v="3375"/>
          <ac:spMkLst>
            <pc:docMk/>
            <pc:sldMk cId="848436090" sldId="264"/>
            <ac:spMk id="13" creationId="{70A6B0DB-095A-3725-7417-4B5209FDF5F8}"/>
          </ac:spMkLst>
        </pc:spChg>
        <pc:spChg chg="mod">
          <ac:chgData name="Kartik Sharma" userId="ffa8ac3b-451c-4bd9-94d7-072893ce2c8d" providerId="ADAL" clId="{6F9B4BD6-F322-4302-BF2E-99EC62EF70B0}" dt="2025-08-31T18:08:26.747" v="3374"/>
          <ac:spMkLst>
            <pc:docMk/>
            <pc:sldMk cId="848436090" sldId="264"/>
            <ac:spMk id="14" creationId="{58DB9D27-9CC8-FB26-98CF-7942E35A16D3}"/>
          </ac:spMkLst>
        </pc:spChg>
        <pc:spChg chg="mod">
          <ac:chgData name="Kartik Sharma" userId="ffa8ac3b-451c-4bd9-94d7-072893ce2c8d" providerId="ADAL" clId="{6F9B4BD6-F322-4302-BF2E-99EC62EF70B0}" dt="2025-08-31T16:15:06.932" v="2080" actId="113"/>
          <ac:spMkLst>
            <pc:docMk/>
            <pc:sldMk cId="848436090" sldId="264"/>
            <ac:spMk id="24" creationId="{26C5AA5C-CEE1-1FA1-F111-A58F780C527A}"/>
          </ac:spMkLst>
        </pc:spChg>
        <pc:spChg chg="add mod">
          <ac:chgData name="Kartik Sharma" userId="ffa8ac3b-451c-4bd9-94d7-072893ce2c8d" providerId="ADAL" clId="{6F9B4BD6-F322-4302-BF2E-99EC62EF70B0}" dt="2025-08-31T19:05:08.833" v="3821" actId="1076"/>
          <ac:spMkLst>
            <pc:docMk/>
            <pc:sldMk cId="848436090" sldId="264"/>
            <ac:spMk id="26" creationId="{953B60CB-838F-A53F-A380-A1B9E1D9C130}"/>
          </ac:spMkLst>
        </pc:spChg>
        <pc:spChg chg="add mod">
          <ac:chgData name="Kartik Sharma" userId="ffa8ac3b-451c-4bd9-94d7-072893ce2c8d" providerId="ADAL" clId="{6F9B4BD6-F322-4302-BF2E-99EC62EF70B0}" dt="2025-08-31T16:15:06.932" v="2080" actId="113"/>
          <ac:spMkLst>
            <pc:docMk/>
            <pc:sldMk cId="848436090" sldId="264"/>
            <ac:spMk id="29" creationId="{AC12A68C-32B9-CD2C-CCBD-1DF2354CE1E6}"/>
          </ac:spMkLst>
        </pc:spChg>
        <pc:spChg chg="add del mod">
          <ac:chgData name="Kartik Sharma" userId="ffa8ac3b-451c-4bd9-94d7-072893ce2c8d" providerId="ADAL" clId="{6F9B4BD6-F322-4302-BF2E-99EC62EF70B0}" dt="2025-08-31T17:02:17.072" v="3229" actId="20577"/>
          <ac:spMkLst>
            <pc:docMk/>
            <pc:sldMk cId="848436090" sldId="264"/>
            <ac:spMk id="30" creationId="{894C80F1-1703-E4CE-A97E-5572E3842B0E}"/>
          </ac:spMkLst>
        </pc:spChg>
        <pc:spChg chg="add mod">
          <ac:chgData name="Kartik Sharma" userId="ffa8ac3b-451c-4bd9-94d7-072893ce2c8d" providerId="ADAL" clId="{6F9B4BD6-F322-4302-BF2E-99EC62EF70B0}" dt="2025-08-31T16:15:07.499" v="2081" actId="113"/>
          <ac:spMkLst>
            <pc:docMk/>
            <pc:sldMk cId="848436090" sldId="264"/>
            <ac:spMk id="31" creationId="{71C43659-3C81-6F9E-F571-A28BB71583C7}"/>
          </ac:spMkLst>
        </pc:spChg>
        <pc:spChg chg="add del mod">
          <ac:chgData name="Kartik Sharma" userId="ffa8ac3b-451c-4bd9-94d7-072893ce2c8d" providerId="ADAL" clId="{6F9B4BD6-F322-4302-BF2E-99EC62EF70B0}" dt="2025-08-31T18:03:49.631" v="3305" actId="1076"/>
          <ac:spMkLst>
            <pc:docMk/>
            <pc:sldMk cId="848436090" sldId="264"/>
            <ac:spMk id="36" creationId="{340823E4-48E5-8555-5727-0601C6273634}"/>
          </ac:spMkLst>
        </pc:spChg>
        <pc:spChg chg="add del mod">
          <ac:chgData name="Kartik Sharma" userId="ffa8ac3b-451c-4bd9-94d7-072893ce2c8d" providerId="ADAL" clId="{6F9B4BD6-F322-4302-BF2E-99EC62EF70B0}" dt="2025-08-31T18:28:51.619" v="3464" actId="1076"/>
          <ac:spMkLst>
            <pc:docMk/>
            <pc:sldMk cId="848436090" sldId="264"/>
            <ac:spMk id="40" creationId="{8A90F77E-0D77-7FE4-DEA6-7D454DA37722}"/>
          </ac:spMkLst>
        </pc:spChg>
        <pc:spChg chg="mod">
          <ac:chgData name="Kartik Sharma" userId="ffa8ac3b-451c-4bd9-94d7-072893ce2c8d" providerId="ADAL" clId="{6F9B4BD6-F322-4302-BF2E-99EC62EF70B0}" dt="2025-08-31T16:15:07.499" v="2081" actId="113"/>
          <ac:spMkLst>
            <pc:docMk/>
            <pc:sldMk cId="848436090" sldId="264"/>
            <ac:spMk id="41" creationId="{031B2545-37C2-76BD-DACE-EB435678E48C}"/>
          </ac:spMkLst>
        </pc:spChg>
        <pc:spChg chg="add mod">
          <ac:chgData name="Kartik Sharma" userId="ffa8ac3b-451c-4bd9-94d7-072893ce2c8d" providerId="ADAL" clId="{6F9B4BD6-F322-4302-BF2E-99EC62EF70B0}" dt="2025-08-31T16:15:06.932" v="2080" actId="113"/>
          <ac:spMkLst>
            <pc:docMk/>
            <pc:sldMk cId="848436090" sldId="264"/>
            <ac:spMk id="43" creationId="{0FF676A7-9F68-944E-5ED7-E4542874D95E}"/>
          </ac:spMkLst>
        </pc:spChg>
        <pc:spChg chg="mod">
          <ac:chgData name="Kartik Sharma" userId="ffa8ac3b-451c-4bd9-94d7-072893ce2c8d" providerId="ADAL" clId="{6F9B4BD6-F322-4302-BF2E-99EC62EF70B0}" dt="2025-08-31T16:15:06.932" v="2080" actId="113"/>
          <ac:spMkLst>
            <pc:docMk/>
            <pc:sldMk cId="848436090" sldId="264"/>
            <ac:spMk id="47" creationId="{720067AC-9166-6EBE-F764-19668BCA9AB7}"/>
          </ac:spMkLst>
        </pc:spChg>
        <pc:spChg chg="mod">
          <ac:chgData name="Kartik Sharma" userId="ffa8ac3b-451c-4bd9-94d7-072893ce2c8d" providerId="ADAL" clId="{6F9B4BD6-F322-4302-BF2E-99EC62EF70B0}" dt="2025-08-31T16:15:06.932" v="2080" actId="113"/>
          <ac:spMkLst>
            <pc:docMk/>
            <pc:sldMk cId="848436090" sldId="264"/>
            <ac:spMk id="49" creationId="{E1A4DCDF-26E8-A985-3844-FFC3FD1EE6CC}"/>
          </ac:spMkLst>
        </pc:spChg>
        <pc:spChg chg="add mod">
          <ac:chgData name="Kartik Sharma" userId="ffa8ac3b-451c-4bd9-94d7-072893ce2c8d" providerId="ADAL" clId="{6F9B4BD6-F322-4302-BF2E-99EC62EF70B0}" dt="2025-08-31T17:02:08.773" v="3194" actId="20577"/>
          <ac:spMkLst>
            <pc:docMk/>
            <pc:sldMk cId="848436090" sldId="264"/>
            <ac:spMk id="52" creationId="{3D511D58-9428-22DE-216D-AD5FAF4FFF54}"/>
          </ac:spMkLst>
        </pc:spChg>
        <pc:spChg chg="mod">
          <ac:chgData name="Kartik Sharma" userId="ffa8ac3b-451c-4bd9-94d7-072893ce2c8d" providerId="ADAL" clId="{6F9B4BD6-F322-4302-BF2E-99EC62EF70B0}" dt="2025-08-31T18:04:19.784" v="3310" actId="1076"/>
          <ac:spMkLst>
            <pc:docMk/>
            <pc:sldMk cId="848436090" sldId="264"/>
            <ac:spMk id="59" creationId="{68BC98B3-B983-82CB-B2FF-9F787FEB33E0}"/>
          </ac:spMkLst>
        </pc:spChg>
        <pc:spChg chg="mod">
          <ac:chgData name="Kartik Sharma" userId="ffa8ac3b-451c-4bd9-94d7-072893ce2c8d" providerId="ADAL" clId="{6F9B4BD6-F322-4302-BF2E-99EC62EF70B0}" dt="2025-08-31T18:04:19.784" v="3310" actId="1076"/>
          <ac:spMkLst>
            <pc:docMk/>
            <pc:sldMk cId="848436090" sldId="264"/>
            <ac:spMk id="60" creationId="{33D469E8-1CC9-4E71-C2D3-60F5F2299A04}"/>
          </ac:spMkLst>
        </pc:spChg>
        <pc:spChg chg="add mod">
          <ac:chgData name="Kartik Sharma" userId="ffa8ac3b-451c-4bd9-94d7-072893ce2c8d" providerId="ADAL" clId="{6F9B4BD6-F322-4302-BF2E-99EC62EF70B0}" dt="2025-08-31T16:30:58.064" v="2285" actId="1076"/>
          <ac:spMkLst>
            <pc:docMk/>
            <pc:sldMk cId="848436090" sldId="264"/>
            <ac:spMk id="64" creationId="{958F4496-00A7-494F-826E-7B00F062AFA8}"/>
          </ac:spMkLst>
        </pc:spChg>
        <pc:spChg chg="mod">
          <ac:chgData name="Kartik Sharma" userId="ffa8ac3b-451c-4bd9-94d7-072893ce2c8d" providerId="ADAL" clId="{6F9B4BD6-F322-4302-BF2E-99EC62EF70B0}" dt="2025-08-31T16:15:07.499" v="2081" actId="113"/>
          <ac:spMkLst>
            <pc:docMk/>
            <pc:sldMk cId="848436090" sldId="264"/>
            <ac:spMk id="71" creationId="{C9095B85-723F-FD9D-FDA2-BD17589C44D3}"/>
          </ac:spMkLst>
        </pc:spChg>
        <pc:spChg chg="mod">
          <ac:chgData name="Kartik Sharma" userId="ffa8ac3b-451c-4bd9-94d7-072893ce2c8d" providerId="ADAL" clId="{6F9B4BD6-F322-4302-BF2E-99EC62EF70B0}" dt="2025-08-31T18:03:59.119" v="3306" actId="1076"/>
          <ac:spMkLst>
            <pc:docMk/>
            <pc:sldMk cId="848436090" sldId="264"/>
            <ac:spMk id="73" creationId="{C5ED0307-398F-C98D-1615-407D4B85774E}"/>
          </ac:spMkLst>
        </pc:spChg>
        <pc:spChg chg="mod">
          <ac:chgData name="Kartik Sharma" userId="ffa8ac3b-451c-4bd9-94d7-072893ce2c8d" providerId="ADAL" clId="{6F9B4BD6-F322-4302-BF2E-99EC62EF70B0}" dt="2025-08-31T18:03:59.119" v="3306" actId="1076"/>
          <ac:spMkLst>
            <pc:docMk/>
            <pc:sldMk cId="848436090" sldId="264"/>
            <ac:spMk id="74" creationId="{C4899CDD-F578-C4B0-B4A9-18EB46FFB89A}"/>
          </ac:spMkLst>
        </pc:spChg>
        <pc:spChg chg="add mod">
          <ac:chgData name="Kartik Sharma" userId="ffa8ac3b-451c-4bd9-94d7-072893ce2c8d" providerId="ADAL" clId="{6F9B4BD6-F322-4302-BF2E-99EC62EF70B0}" dt="2025-08-31T18:04:02.978" v="3307" actId="1076"/>
          <ac:spMkLst>
            <pc:docMk/>
            <pc:sldMk cId="848436090" sldId="264"/>
            <ac:spMk id="76" creationId="{5CD3ADEB-8ECD-2A25-E165-A81D35676B61}"/>
          </ac:spMkLst>
        </pc:spChg>
        <pc:spChg chg="add mod">
          <ac:chgData name="Kartik Sharma" userId="ffa8ac3b-451c-4bd9-94d7-072893ce2c8d" providerId="ADAL" clId="{6F9B4BD6-F322-4302-BF2E-99EC62EF70B0}" dt="2025-08-31T18:04:02.978" v="3307" actId="1076"/>
          <ac:spMkLst>
            <pc:docMk/>
            <pc:sldMk cId="848436090" sldId="264"/>
            <ac:spMk id="77" creationId="{D3C0C0C6-7DB2-9E95-8B1F-8C016C75194D}"/>
          </ac:spMkLst>
        </pc:spChg>
        <pc:spChg chg="add mod">
          <ac:chgData name="Kartik Sharma" userId="ffa8ac3b-451c-4bd9-94d7-072893ce2c8d" providerId="ADAL" clId="{6F9B4BD6-F322-4302-BF2E-99EC62EF70B0}" dt="2025-08-31T18:04:07.937" v="3308" actId="1076"/>
          <ac:spMkLst>
            <pc:docMk/>
            <pc:sldMk cId="848436090" sldId="264"/>
            <ac:spMk id="78" creationId="{56B7A4E2-01F4-F748-F02A-A72229AA87D9}"/>
          </ac:spMkLst>
        </pc:spChg>
        <pc:spChg chg="add mod">
          <ac:chgData name="Kartik Sharma" userId="ffa8ac3b-451c-4bd9-94d7-072893ce2c8d" providerId="ADAL" clId="{6F9B4BD6-F322-4302-BF2E-99EC62EF70B0}" dt="2025-08-31T18:04:07.937" v="3308" actId="1076"/>
          <ac:spMkLst>
            <pc:docMk/>
            <pc:sldMk cId="848436090" sldId="264"/>
            <ac:spMk id="79" creationId="{AF792A8F-2297-7055-304B-7A228378BC25}"/>
          </ac:spMkLst>
        </pc:spChg>
        <pc:spChg chg="add del mod">
          <ac:chgData name="Kartik Sharma" userId="ffa8ac3b-451c-4bd9-94d7-072893ce2c8d" providerId="ADAL" clId="{6F9B4BD6-F322-4302-BF2E-99EC62EF70B0}" dt="2025-08-31T16:16:09.075" v="2096" actId="1076"/>
          <ac:spMkLst>
            <pc:docMk/>
            <pc:sldMk cId="848436090" sldId="264"/>
            <ac:spMk id="100" creationId="{9F9314EC-6A1A-1484-725C-1151A3AA57C8}"/>
          </ac:spMkLst>
        </pc:spChg>
        <pc:spChg chg="add mod">
          <ac:chgData name="Kartik Sharma" userId="ffa8ac3b-451c-4bd9-94d7-072893ce2c8d" providerId="ADAL" clId="{6F9B4BD6-F322-4302-BF2E-99EC62EF70B0}" dt="2025-08-31T16:16:37.758" v="2100" actId="14100"/>
          <ac:spMkLst>
            <pc:docMk/>
            <pc:sldMk cId="848436090" sldId="264"/>
            <ac:spMk id="104" creationId="{44C5ACC1-DFFB-D008-3BB7-C78602E33ED1}"/>
          </ac:spMkLst>
        </pc:spChg>
        <pc:spChg chg="add mod">
          <ac:chgData name="Kartik Sharma" userId="ffa8ac3b-451c-4bd9-94d7-072893ce2c8d" providerId="ADAL" clId="{6F9B4BD6-F322-4302-BF2E-99EC62EF70B0}" dt="2025-08-31T17:00:04.974" v="3181" actId="20577"/>
          <ac:spMkLst>
            <pc:docMk/>
            <pc:sldMk cId="848436090" sldId="264"/>
            <ac:spMk id="108" creationId="{955CDCA0-79F4-0FE8-F8E9-FFD36783ECE6}"/>
          </ac:spMkLst>
        </pc:spChg>
        <pc:spChg chg="add mod">
          <ac:chgData name="Kartik Sharma" userId="ffa8ac3b-451c-4bd9-94d7-072893ce2c8d" providerId="ADAL" clId="{6F9B4BD6-F322-4302-BF2E-99EC62EF70B0}" dt="2025-08-31T16:16:18.722" v="2098" actId="1076"/>
          <ac:spMkLst>
            <pc:docMk/>
            <pc:sldMk cId="848436090" sldId="264"/>
            <ac:spMk id="110" creationId="{02D87E3A-680D-BF5C-2C1F-DF8C6A14F4F3}"/>
          </ac:spMkLst>
        </pc:spChg>
        <pc:spChg chg="add mod">
          <ac:chgData name="Kartik Sharma" userId="ffa8ac3b-451c-4bd9-94d7-072893ce2c8d" providerId="ADAL" clId="{6F9B4BD6-F322-4302-BF2E-99EC62EF70B0}" dt="2025-08-31T18:28:57.223" v="3465" actId="1076"/>
          <ac:spMkLst>
            <pc:docMk/>
            <pc:sldMk cId="848436090" sldId="264"/>
            <ac:spMk id="114" creationId="{D4635707-C133-FD10-2DB0-917C9FDE0011}"/>
          </ac:spMkLst>
        </pc:spChg>
        <pc:picChg chg="add mod">
          <ac:chgData name="Kartik Sharma" userId="ffa8ac3b-451c-4bd9-94d7-072893ce2c8d" providerId="ADAL" clId="{6F9B4BD6-F322-4302-BF2E-99EC62EF70B0}" dt="2025-08-31T16:29:45.468" v="2276" actId="1076"/>
          <ac:picMkLst>
            <pc:docMk/>
            <pc:sldMk cId="848436090" sldId="264"/>
            <ac:picMk id="20" creationId="{E7971313-38BE-CA94-C288-282566B6C283}"/>
          </ac:picMkLst>
        </pc:picChg>
        <pc:picChg chg="mod">
          <ac:chgData name="Kartik Sharma" userId="ffa8ac3b-451c-4bd9-94d7-072893ce2c8d" providerId="ADAL" clId="{6F9B4BD6-F322-4302-BF2E-99EC62EF70B0}" dt="2025-08-31T16:18:50.814" v="2118" actId="1076"/>
          <ac:picMkLst>
            <pc:docMk/>
            <pc:sldMk cId="848436090" sldId="264"/>
            <ac:picMk id="35" creationId="{B620D198-B75A-397D-CC30-598FD782C678}"/>
          </ac:picMkLst>
        </pc:picChg>
        <pc:picChg chg="add mod">
          <ac:chgData name="Kartik Sharma" userId="ffa8ac3b-451c-4bd9-94d7-072893ce2c8d" providerId="ADAL" clId="{6F9B4BD6-F322-4302-BF2E-99EC62EF70B0}" dt="2025-08-31T17:04:57.421" v="3231" actId="1076"/>
          <ac:picMkLst>
            <pc:docMk/>
            <pc:sldMk cId="848436090" sldId="264"/>
            <ac:picMk id="51" creationId="{9E2CA809-1A1D-C3B8-8F36-5AF23C44D2A2}"/>
          </ac:picMkLst>
        </pc:picChg>
        <pc:picChg chg="add mod">
          <ac:chgData name="Kartik Sharma" userId="ffa8ac3b-451c-4bd9-94d7-072893ce2c8d" providerId="ADAL" clId="{6F9B4BD6-F322-4302-BF2E-99EC62EF70B0}" dt="2025-08-31T16:18:53.102" v="2119" actId="1076"/>
          <ac:picMkLst>
            <pc:docMk/>
            <pc:sldMk cId="848436090" sldId="264"/>
            <ac:picMk id="66" creationId="{5A19B72F-50DE-8B08-5E77-3266C65920B9}"/>
          </ac:picMkLst>
        </pc:picChg>
        <pc:picChg chg="add mod modCrop">
          <ac:chgData name="Kartik Sharma" userId="ffa8ac3b-451c-4bd9-94d7-072893ce2c8d" providerId="ADAL" clId="{6F9B4BD6-F322-4302-BF2E-99EC62EF70B0}" dt="2025-08-31T16:17:10.315" v="2104" actId="1076"/>
          <ac:picMkLst>
            <pc:docMk/>
            <pc:sldMk cId="848436090" sldId="264"/>
            <ac:picMk id="84" creationId="{EE1D843F-0193-441A-BEEE-82D05F649AA9}"/>
          </ac:picMkLst>
        </pc:picChg>
        <pc:picChg chg="add mod modCrop">
          <ac:chgData name="Kartik Sharma" userId="ffa8ac3b-451c-4bd9-94d7-072893ce2c8d" providerId="ADAL" clId="{6F9B4BD6-F322-4302-BF2E-99EC62EF70B0}" dt="2025-08-31T16:31:03.634" v="2286" actId="1076"/>
          <ac:picMkLst>
            <pc:docMk/>
            <pc:sldMk cId="848436090" sldId="264"/>
            <ac:picMk id="86" creationId="{80AD0F6A-C456-0C92-2A43-7D4C5B2F752F}"/>
          </ac:picMkLst>
        </pc:picChg>
        <pc:picChg chg="add mod">
          <ac:chgData name="Kartik Sharma" userId="ffa8ac3b-451c-4bd9-94d7-072893ce2c8d" providerId="ADAL" clId="{6F9B4BD6-F322-4302-BF2E-99EC62EF70B0}" dt="2025-08-31T15:03:07.174" v="1198" actId="1076"/>
          <ac:picMkLst>
            <pc:docMk/>
            <pc:sldMk cId="848436090" sldId="264"/>
            <ac:picMk id="97" creationId="{A8456AD0-B78B-2219-6E44-61116B645D10}"/>
          </ac:picMkLst>
        </pc:picChg>
        <pc:picChg chg="add mod">
          <ac:chgData name="Kartik Sharma" userId="ffa8ac3b-451c-4bd9-94d7-072893ce2c8d" providerId="ADAL" clId="{6F9B4BD6-F322-4302-BF2E-99EC62EF70B0}" dt="2025-08-31T16:31:46.171" v="2300" actId="1038"/>
          <ac:picMkLst>
            <pc:docMk/>
            <pc:sldMk cId="848436090" sldId="264"/>
            <ac:picMk id="117" creationId="{9F377E41-0A1D-5885-95DF-812406280D4E}"/>
          </ac:picMkLst>
        </pc:picChg>
        <pc:picChg chg="add mod">
          <ac:chgData name="Kartik Sharma" userId="ffa8ac3b-451c-4bd9-94d7-072893ce2c8d" providerId="ADAL" clId="{6F9B4BD6-F322-4302-BF2E-99EC62EF70B0}" dt="2025-08-31T16:18:58.496" v="2120" actId="1076"/>
          <ac:picMkLst>
            <pc:docMk/>
            <pc:sldMk cId="848436090" sldId="264"/>
            <ac:picMk id="118" creationId="{F7CF18A2-0970-2067-A7B6-C1C7A26784CB}"/>
          </ac:picMkLst>
        </pc:picChg>
        <pc:cxnChg chg="add mod">
          <ac:chgData name="Kartik Sharma" userId="ffa8ac3b-451c-4bd9-94d7-072893ce2c8d" providerId="ADAL" clId="{6F9B4BD6-F322-4302-BF2E-99EC62EF70B0}" dt="2025-08-31T18:29:16.325" v="3466" actId="14100"/>
          <ac:cxnSpMkLst>
            <pc:docMk/>
            <pc:sldMk cId="848436090" sldId="264"/>
            <ac:cxnSpMk id="23" creationId="{3DE7BEB3-B443-052A-B559-9675D5F073A4}"/>
          </ac:cxnSpMkLst>
        </pc:cxnChg>
        <pc:cxnChg chg="add mod">
          <ac:chgData name="Kartik Sharma" userId="ffa8ac3b-451c-4bd9-94d7-072893ce2c8d" providerId="ADAL" clId="{6F9B4BD6-F322-4302-BF2E-99EC62EF70B0}" dt="2025-08-31T16:30:58.064" v="2285" actId="1076"/>
          <ac:cxnSpMkLst>
            <pc:docMk/>
            <pc:sldMk cId="848436090" sldId="264"/>
            <ac:cxnSpMk id="67" creationId="{9BA6FDCD-E0C7-EDA9-ADB7-0376BF70B077}"/>
          </ac:cxnSpMkLst>
        </pc:cxnChg>
        <pc:cxnChg chg="add mod">
          <ac:chgData name="Kartik Sharma" userId="ffa8ac3b-451c-4bd9-94d7-072893ce2c8d" providerId="ADAL" clId="{6F9B4BD6-F322-4302-BF2E-99EC62EF70B0}" dt="2025-08-31T16:16:09.075" v="2096" actId="1076"/>
          <ac:cxnSpMkLst>
            <pc:docMk/>
            <pc:sldMk cId="848436090" sldId="264"/>
            <ac:cxnSpMk id="101" creationId="{ACCC47E1-A460-5EE3-0494-6F8BA6A24A69}"/>
          </ac:cxnSpMkLst>
        </pc:cxnChg>
        <pc:cxnChg chg="add mod">
          <ac:chgData name="Kartik Sharma" userId="ffa8ac3b-451c-4bd9-94d7-072893ce2c8d" providerId="ADAL" clId="{6F9B4BD6-F322-4302-BF2E-99EC62EF70B0}" dt="2025-08-31T16:16:14.341" v="2097" actId="1076"/>
          <ac:cxnSpMkLst>
            <pc:docMk/>
            <pc:sldMk cId="848436090" sldId="264"/>
            <ac:cxnSpMk id="105" creationId="{DB8B98FC-0388-DC40-38EB-5787B2DFE817}"/>
          </ac:cxnSpMkLst>
        </pc:cxnChg>
        <pc:cxnChg chg="add mod">
          <ac:chgData name="Kartik Sharma" userId="ffa8ac3b-451c-4bd9-94d7-072893ce2c8d" providerId="ADAL" clId="{6F9B4BD6-F322-4302-BF2E-99EC62EF70B0}" dt="2025-08-31T16:16:24.037" v="2099" actId="1076"/>
          <ac:cxnSpMkLst>
            <pc:docMk/>
            <pc:sldMk cId="848436090" sldId="264"/>
            <ac:cxnSpMk id="109" creationId="{5B29FF8C-2A56-A89D-3010-18DDE3C0C677}"/>
          </ac:cxnSpMkLst>
        </pc:cxnChg>
        <pc:cxnChg chg="add mod">
          <ac:chgData name="Kartik Sharma" userId="ffa8ac3b-451c-4bd9-94d7-072893ce2c8d" providerId="ADAL" clId="{6F9B4BD6-F322-4302-BF2E-99EC62EF70B0}" dt="2025-08-31T16:16:18.722" v="2098" actId="1076"/>
          <ac:cxnSpMkLst>
            <pc:docMk/>
            <pc:sldMk cId="848436090" sldId="264"/>
            <ac:cxnSpMk id="111" creationId="{CF05BC94-D492-D1FC-1CCF-FC8D70DDDD1E}"/>
          </ac:cxnSpMkLst>
        </pc:cxnChg>
      </pc:sldChg>
      <pc:sldChg chg="add del">
        <pc:chgData name="Kartik Sharma" userId="ffa8ac3b-451c-4bd9-94d7-072893ce2c8d" providerId="ADAL" clId="{6F9B4BD6-F322-4302-BF2E-99EC62EF70B0}" dt="2025-08-30T14:37:58.622" v="168" actId="2696"/>
        <pc:sldMkLst>
          <pc:docMk/>
          <pc:sldMk cId="2742549253" sldId="264"/>
        </pc:sldMkLst>
      </pc:sldChg>
      <pc:sldChg chg="add del">
        <pc:chgData name="Kartik Sharma" userId="ffa8ac3b-451c-4bd9-94d7-072893ce2c8d" providerId="ADAL" clId="{6F9B4BD6-F322-4302-BF2E-99EC62EF70B0}" dt="2025-08-30T14:46:47.866" v="222" actId="2696"/>
        <pc:sldMkLst>
          <pc:docMk/>
          <pc:sldMk cId="297157517" sldId="265"/>
        </pc:sldMkLst>
      </pc:sldChg>
      <pc:sldChg chg="modSp add mod">
        <pc:chgData name="Kartik Sharma" userId="ffa8ac3b-451c-4bd9-94d7-072893ce2c8d" providerId="ADAL" clId="{6F9B4BD6-F322-4302-BF2E-99EC62EF70B0}" dt="2025-08-31T17:59:36.810" v="3239"/>
        <pc:sldMkLst>
          <pc:docMk/>
          <pc:sldMk cId="2451315773" sldId="266"/>
        </pc:sldMkLst>
      </pc:sldChg>
      <pc:sldChg chg="addSp delSp modSp new mod ord setBg">
        <pc:chgData name="Kartik Sharma" userId="ffa8ac3b-451c-4bd9-94d7-072893ce2c8d" providerId="ADAL" clId="{6F9B4BD6-F322-4302-BF2E-99EC62EF70B0}" dt="2025-08-31T18:36:45.134" v="3498" actId="313"/>
        <pc:sldMkLst>
          <pc:docMk/>
          <pc:sldMk cId="256415640" sldId="2147473057"/>
        </pc:sldMkLst>
        <pc:spChg chg="mod">
          <ac:chgData name="Kartik Sharma" userId="ffa8ac3b-451c-4bd9-94d7-072893ce2c8d" providerId="ADAL" clId="{6F9B4BD6-F322-4302-BF2E-99EC62EF70B0}" dt="2025-08-31T18:36:34.419" v="3497" actId="20577"/>
          <ac:spMkLst>
            <pc:docMk/>
            <pc:sldMk cId="256415640" sldId="2147473057"/>
            <ac:spMk id="10" creationId="{35211C58-63DF-77B6-4DF4-42F99B8945F2}"/>
          </ac:spMkLst>
        </pc:spChg>
        <pc:spChg chg="mod">
          <ac:chgData name="Kartik Sharma" userId="ffa8ac3b-451c-4bd9-94d7-072893ce2c8d" providerId="ADAL" clId="{6F9B4BD6-F322-4302-BF2E-99EC62EF70B0}" dt="2025-08-31T18:08:00.895" v="3351" actId="20577"/>
          <ac:spMkLst>
            <pc:docMk/>
            <pc:sldMk cId="256415640" sldId="2147473057"/>
            <ac:spMk id="12" creationId="{4F1CFC41-F69A-CD5D-FD5E-5F8398888DAC}"/>
          </ac:spMkLst>
        </pc:spChg>
        <pc:spChg chg="mod">
          <ac:chgData name="Kartik Sharma" userId="ffa8ac3b-451c-4bd9-94d7-072893ce2c8d" providerId="ADAL" clId="{6F9B4BD6-F322-4302-BF2E-99EC62EF70B0}" dt="2025-08-31T18:36:45.134" v="3498" actId="313"/>
          <ac:spMkLst>
            <pc:docMk/>
            <pc:sldMk cId="256415640" sldId="2147473057"/>
            <ac:spMk id="14" creationId="{908D5BDA-8D84-FE6D-59EC-1FDD413328AC}"/>
          </ac:spMkLst>
        </pc:spChg>
        <pc:spChg chg="add mod">
          <ac:chgData name="Kartik Sharma" userId="ffa8ac3b-451c-4bd9-94d7-072893ce2c8d" providerId="ADAL" clId="{6F9B4BD6-F322-4302-BF2E-99EC62EF70B0}" dt="2025-08-31T16:35:18.550" v="2382" actId="14100"/>
          <ac:spMkLst>
            <pc:docMk/>
            <pc:sldMk cId="256415640" sldId="2147473057"/>
            <ac:spMk id="23" creationId="{0062DC86-3950-FC63-312D-255E3E49F3E4}"/>
          </ac:spMkLst>
        </pc:spChg>
        <pc:spChg chg="add mod">
          <ac:chgData name="Kartik Sharma" userId="ffa8ac3b-451c-4bd9-94d7-072893ce2c8d" providerId="ADAL" clId="{6F9B4BD6-F322-4302-BF2E-99EC62EF70B0}" dt="2025-08-31T16:38:42.864" v="2690" actId="113"/>
          <ac:spMkLst>
            <pc:docMk/>
            <pc:sldMk cId="256415640" sldId="2147473057"/>
            <ac:spMk id="26" creationId="{426C761F-B579-84CA-8B16-2236DC8DA594}"/>
          </ac:spMkLst>
        </pc:spChg>
        <pc:spChg chg="add mod">
          <ac:chgData name="Kartik Sharma" userId="ffa8ac3b-451c-4bd9-94d7-072893ce2c8d" providerId="ADAL" clId="{6F9B4BD6-F322-4302-BF2E-99EC62EF70B0}" dt="2025-08-31T16:38:49.525" v="2691" actId="113"/>
          <ac:spMkLst>
            <pc:docMk/>
            <pc:sldMk cId="256415640" sldId="2147473057"/>
            <ac:spMk id="28" creationId="{4812104F-206D-F9C4-4CD2-822651BC5989}"/>
          </ac:spMkLst>
        </pc:spChg>
        <pc:spChg chg="add mod">
          <ac:chgData name="Kartik Sharma" userId="ffa8ac3b-451c-4bd9-94d7-072893ce2c8d" providerId="ADAL" clId="{6F9B4BD6-F322-4302-BF2E-99EC62EF70B0}" dt="2025-08-31T16:38:30.385" v="2689" actId="113"/>
          <ac:spMkLst>
            <pc:docMk/>
            <pc:sldMk cId="256415640" sldId="2147473057"/>
            <ac:spMk id="30" creationId="{E60B52DD-15E3-2107-4A7F-D8F989906843}"/>
          </ac:spMkLst>
        </pc:spChg>
        <pc:spChg chg="add mod">
          <ac:chgData name="Kartik Sharma" userId="ffa8ac3b-451c-4bd9-94d7-072893ce2c8d" providerId="ADAL" clId="{6F9B4BD6-F322-4302-BF2E-99EC62EF70B0}" dt="2025-08-31T16:40:53.774" v="3042" actId="313"/>
          <ac:spMkLst>
            <pc:docMk/>
            <pc:sldMk cId="256415640" sldId="2147473057"/>
            <ac:spMk id="32" creationId="{E4BD13AC-B3C9-14C2-20AD-59AC04BA9AE1}"/>
          </ac:spMkLst>
        </pc:spChg>
        <pc:spChg chg="add mod">
          <ac:chgData name="Kartik Sharma" userId="ffa8ac3b-451c-4bd9-94d7-072893ce2c8d" providerId="ADAL" clId="{6F9B4BD6-F322-4302-BF2E-99EC62EF70B0}" dt="2025-08-31T16:40:08.674" v="2923" actId="113"/>
          <ac:spMkLst>
            <pc:docMk/>
            <pc:sldMk cId="256415640" sldId="2147473057"/>
            <ac:spMk id="34" creationId="{74B72D92-902A-1E64-8EA5-3E9CE2B1FA7E}"/>
          </ac:spMkLst>
        </pc:spChg>
        <pc:spChg chg="add mod">
          <ac:chgData name="Kartik Sharma" userId="ffa8ac3b-451c-4bd9-94d7-072893ce2c8d" providerId="ADAL" clId="{6F9B4BD6-F322-4302-BF2E-99EC62EF70B0}" dt="2025-08-31T16:41:48.979" v="3115" actId="1076"/>
          <ac:spMkLst>
            <pc:docMk/>
            <pc:sldMk cId="256415640" sldId="2147473057"/>
            <ac:spMk id="36" creationId="{DDFD6818-71AA-1758-14DD-173287C8DAD3}"/>
          </ac:spMkLst>
        </pc:spChg>
        <pc:spChg chg="add mod">
          <ac:chgData name="Kartik Sharma" userId="ffa8ac3b-451c-4bd9-94d7-072893ce2c8d" providerId="ADAL" clId="{6F9B4BD6-F322-4302-BF2E-99EC62EF70B0}" dt="2025-08-31T16:41:48.979" v="3115" actId="1076"/>
          <ac:spMkLst>
            <pc:docMk/>
            <pc:sldMk cId="256415640" sldId="2147473057"/>
            <ac:spMk id="38" creationId="{7B910699-1CF2-C987-918F-FDE7DA6CFECA}"/>
          </ac:spMkLst>
        </pc:spChg>
        <pc:spChg chg="mod">
          <ac:chgData name="Kartik Sharma" userId="ffa8ac3b-451c-4bd9-94d7-072893ce2c8d" providerId="ADAL" clId="{6F9B4BD6-F322-4302-BF2E-99EC62EF70B0}" dt="2025-08-31T17:21:49.625" v="3236"/>
          <ac:spMkLst>
            <pc:docMk/>
            <pc:sldMk cId="256415640" sldId="2147473057"/>
            <ac:spMk id="43" creationId="{CA10F70A-D005-DCFC-3BA7-C66FE121286A}"/>
          </ac:spMkLst>
        </pc:spChg>
        <pc:spChg chg="mod">
          <ac:chgData name="Kartik Sharma" userId="ffa8ac3b-451c-4bd9-94d7-072893ce2c8d" providerId="ADAL" clId="{6F9B4BD6-F322-4302-BF2E-99EC62EF70B0}" dt="2025-08-31T17:21:49.625" v="3236"/>
          <ac:spMkLst>
            <pc:docMk/>
            <pc:sldMk cId="256415640" sldId="2147473057"/>
            <ac:spMk id="50" creationId="{38879996-DF23-AC82-365E-17107824E56B}"/>
          </ac:spMkLst>
        </pc:spChg>
        <pc:spChg chg="mod">
          <ac:chgData name="Kartik Sharma" userId="ffa8ac3b-451c-4bd9-94d7-072893ce2c8d" providerId="ADAL" clId="{6F9B4BD6-F322-4302-BF2E-99EC62EF70B0}" dt="2025-08-31T17:21:49.625" v="3236"/>
          <ac:spMkLst>
            <pc:docMk/>
            <pc:sldMk cId="256415640" sldId="2147473057"/>
            <ac:spMk id="51" creationId="{0184C55E-6C1D-9572-EAF1-9F87EEAF4C5E}"/>
          </ac:spMkLst>
        </pc:spChg>
        <pc:grpChg chg="mod">
          <ac:chgData name="Kartik Sharma" userId="ffa8ac3b-451c-4bd9-94d7-072893ce2c8d" providerId="ADAL" clId="{6F9B4BD6-F322-4302-BF2E-99EC62EF70B0}" dt="2025-08-31T16:42:01.300" v="3116" actId="1076"/>
          <ac:grpSpMkLst>
            <pc:docMk/>
            <pc:sldMk cId="256415640" sldId="2147473057"/>
            <ac:grpSpMk id="2" creationId="{382EF3A5-B50E-BF54-89AA-ABB002F348B1}"/>
          </ac:grpSpMkLst>
        </pc:grpChg>
        <pc:grpChg chg="mod">
          <ac:chgData name="Kartik Sharma" userId="ffa8ac3b-451c-4bd9-94d7-072893ce2c8d" providerId="ADAL" clId="{6F9B4BD6-F322-4302-BF2E-99EC62EF70B0}" dt="2025-08-31T17:21:55.882" v="3238" actId="14100"/>
          <ac:grpSpMkLst>
            <pc:docMk/>
            <pc:sldMk cId="256415640" sldId="2147473057"/>
            <ac:grpSpMk id="40" creationId="{EA815128-A73C-A569-DCFE-C7A44AF9FE8D}"/>
          </ac:grpSpMkLst>
        </pc:grpChg>
        <pc:grpChg chg="mod">
          <ac:chgData name="Kartik Sharma" userId="ffa8ac3b-451c-4bd9-94d7-072893ce2c8d" providerId="ADAL" clId="{6F9B4BD6-F322-4302-BF2E-99EC62EF70B0}" dt="2025-08-31T17:21:49.625" v="3236"/>
          <ac:grpSpMkLst>
            <pc:docMk/>
            <pc:sldMk cId="256415640" sldId="2147473057"/>
            <ac:grpSpMk id="49" creationId="{11E2648F-C473-EA31-C407-53F13E80C1BD}"/>
          </ac:grpSpMkLst>
        </pc:grpChg>
        <pc:picChg chg="add mod">
          <ac:chgData name="Kartik Sharma" userId="ffa8ac3b-451c-4bd9-94d7-072893ce2c8d" providerId="ADAL" clId="{6F9B4BD6-F322-4302-BF2E-99EC62EF70B0}" dt="2025-08-31T16:42:01.300" v="3116" actId="1076"/>
          <ac:picMkLst>
            <pc:docMk/>
            <pc:sldMk cId="256415640" sldId="2147473057"/>
            <ac:picMk id="5" creationId="{52DD48B3-A053-9D34-A7BA-519B0B6ED45B}"/>
          </ac:picMkLst>
        </pc:picChg>
        <pc:picChg chg="add mod ord">
          <ac:chgData name="Kartik Sharma" userId="ffa8ac3b-451c-4bd9-94d7-072893ce2c8d" providerId="ADAL" clId="{6F9B4BD6-F322-4302-BF2E-99EC62EF70B0}" dt="2025-08-31T16:41:48.979" v="3115" actId="1076"/>
          <ac:picMkLst>
            <pc:docMk/>
            <pc:sldMk cId="256415640" sldId="2147473057"/>
            <ac:picMk id="11" creationId="{1E2784C6-79BA-2074-4FA8-7B40FD98921E}"/>
          </ac:picMkLst>
        </pc:picChg>
        <pc:picChg chg="add mod">
          <ac:chgData name="Kartik Sharma" userId="ffa8ac3b-451c-4bd9-94d7-072893ce2c8d" providerId="ADAL" clId="{6F9B4BD6-F322-4302-BF2E-99EC62EF70B0}" dt="2025-08-31T16:37:51.604" v="2589" actId="1076"/>
          <ac:picMkLst>
            <pc:docMk/>
            <pc:sldMk cId="256415640" sldId="2147473057"/>
            <ac:picMk id="13" creationId="{2C897F10-1D58-C0EC-1253-422921F43702}"/>
          </ac:picMkLst>
        </pc:picChg>
        <pc:picChg chg="add mod ord">
          <ac:chgData name="Kartik Sharma" userId="ffa8ac3b-451c-4bd9-94d7-072893ce2c8d" providerId="ADAL" clId="{6F9B4BD6-F322-4302-BF2E-99EC62EF70B0}" dt="2025-08-31T16:35:56.535" v="2387" actId="1076"/>
          <ac:picMkLst>
            <pc:docMk/>
            <pc:sldMk cId="256415640" sldId="2147473057"/>
            <ac:picMk id="15" creationId="{8DF268B6-C428-EF7D-BC90-77E0B121BB6D}"/>
          </ac:picMkLst>
        </pc:picChg>
        <pc:picChg chg="mod">
          <ac:chgData name="Kartik Sharma" userId="ffa8ac3b-451c-4bd9-94d7-072893ce2c8d" providerId="ADAL" clId="{6F9B4BD6-F322-4302-BF2E-99EC62EF70B0}" dt="2025-08-31T17:21:49.625" v="3236"/>
          <ac:picMkLst>
            <pc:docMk/>
            <pc:sldMk cId="256415640" sldId="2147473057"/>
            <ac:picMk id="42" creationId="{788154C4-5FAB-9A9C-E446-897536931752}"/>
          </ac:picMkLst>
        </pc:picChg>
        <pc:picChg chg="mod">
          <ac:chgData name="Kartik Sharma" userId="ffa8ac3b-451c-4bd9-94d7-072893ce2c8d" providerId="ADAL" clId="{6F9B4BD6-F322-4302-BF2E-99EC62EF70B0}" dt="2025-08-31T17:21:49.625" v="3236"/>
          <ac:picMkLst>
            <pc:docMk/>
            <pc:sldMk cId="256415640" sldId="2147473057"/>
            <ac:picMk id="44" creationId="{515579F5-57B9-E791-B183-CE1D4A0E396F}"/>
          </ac:picMkLst>
        </pc:picChg>
        <pc:picChg chg="mod">
          <ac:chgData name="Kartik Sharma" userId="ffa8ac3b-451c-4bd9-94d7-072893ce2c8d" providerId="ADAL" clId="{6F9B4BD6-F322-4302-BF2E-99EC62EF70B0}" dt="2025-08-31T17:21:49.625" v="3236"/>
          <ac:picMkLst>
            <pc:docMk/>
            <pc:sldMk cId="256415640" sldId="2147473057"/>
            <ac:picMk id="45" creationId="{5E371F1A-CAF7-3E40-0B93-B9D8EA7330D5}"/>
          </ac:picMkLst>
        </pc:picChg>
        <pc:picChg chg="mod">
          <ac:chgData name="Kartik Sharma" userId="ffa8ac3b-451c-4bd9-94d7-072893ce2c8d" providerId="ADAL" clId="{6F9B4BD6-F322-4302-BF2E-99EC62EF70B0}" dt="2025-08-31T17:21:49.625" v="3236"/>
          <ac:picMkLst>
            <pc:docMk/>
            <pc:sldMk cId="256415640" sldId="2147473057"/>
            <ac:picMk id="46" creationId="{497E78AE-0E76-6FBA-025C-92A528CE2261}"/>
          </ac:picMkLst>
        </pc:picChg>
        <pc:picChg chg="mod">
          <ac:chgData name="Kartik Sharma" userId="ffa8ac3b-451c-4bd9-94d7-072893ce2c8d" providerId="ADAL" clId="{6F9B4BD6-F322-4302-BF2E-99EC62EF70B0}" dt="2025-08-31T17:21:49.625" v="3236"/>
          <ac:picMkLst>
            <pc:docMk/>
            <pc:sldMk cId="256415640" sldId="2147473057"/>
            <ac:picMk id="47" creationId="{44C21BD0-9F2F-1EAA-CCD4-54E9F60E9E1C}"/>
          </ac:picMkLst>
        </pc:picChg>
        <pc:picChg chg="mod">
          <ac:chgData name="Kartik Sharma" userId="ffa8ac3b-451c-4bd9-94d7-072893ce2c8d" providerId="ADAL" clId="{6F9B4BD6-F322-4302-BF2E-99EC62EF70B0}" dt="2025-08-31T17:21:49.625" v="3236"/>
          <ac:picMkLst>
            <pc:docMk/>
            <pc:sldMk cId="256415640" sldId="2147473057"/>
            <ac:picMk id="48" creationId="{E3B047A9-740A-1340-660A-4963DD00E17B}"/>
          </ac:picMkLst>
        </pc:picChg>
        <pc:cxnChg chg="add">
          <ac:chgData name="Kartik Sharma" userId="ffa8ac3b-451c-4bd9-94d7-072893ce2c8d" providerId="ADAL" clId="{6F9B4BD6-F322-4302-BF2E-99EC62EF70B0}" dt="2025-08-31T13:40:59.848" v="782" actId="26606"/>
          <ac:cxnSpMkLst>
            <pc:docMk/>
            <pc:sldMk cId="256415640" sldId="2147473057"/>
            <ac:cxnSpMk id="20" creationId="{50DA1EB8-87CF-4588-A1FD-4756F9A28F6B}"/>
          </ac:cxnSpMkLst>
        </pc:cxnChg>
        <pc:cxnChg chg="add">
          <ac:chgData name="Kartik Sharma" userId="ffa8ac3b-451c-4bd9-94d7-072893ce2c8d" providerId="ADAL" clId="{6F9B4BD6-F322-4302-BF2E-99EC62EF70B0}" dt="2025-08-31T13:40:59.848" v="782" actId="26606"/>
          <ac:cxnSpMkLst>
            <pc:docMk/>
            <pc:sldMk cId="256415640" sldId="2147473057"/>
            <ac:cxnSpMk id="22" creationId="{D7A4E378-EA57-47B9-B1EB-58B998F6CFFB}"/>
          </ac:cxnSpMkLst>
        </pc:cxnChg>
        <pc:cxnChg chg="add">
          <ac:chgData name="Kartik Sharma" userId="ffa8ac3b-451c-4bd9-94d7-072893ce2c8d" providerId="ADAL" clId="{6F9B4BD6-F322-4302-BF2E-99EC62EF70B0}" dt="2025-08-31T13:40:59.848" v="782" actId="26606"/>
          <ac:cxnSpMkLst>
            <pc:docMk/>
            <pc:sldMk cId="256415640" sldId="2147473057"/>
            <ac:cxnSpMk id="24" creationId="{D2B31ED6-76F0-425A-9A41-C947AEF9C145}"/>
          </ac:cxnSpMkLst>
        </pc:cxnChg>
        <pc:cxnChg chg="add mod">
          <ac:chgData name="Kartik Sharma" userId="ffa8ac3b-451c-4bd9-94d7-072893ce2c8d" providerId="ADAL" clId="{6F9B4BD6-F322-4302-BF2E-99EC62EF70B0}" dt="2025-08-31T16:35:41.831" v="2385" actId="1076"/>
          <ac:cxnSpMkLst>
            <pc:docMk/>
            <pc:sldMk cId="256415640" sldId="2147473057"/>
            <ac:cxnSpMk id="27" creationId="{C9B29BFC-950F-CE33-DF31-DCC94297E776}"/>
          </ac:cxnSpMkLst>
        </pc:cxnChg>
        <pc:cxnChg chg="add mod">
          <ac:chgData name="Kartik Sharma" userId="ffa8ac3b-451c-4bd9-94d7-072893ce2c8d" providerId="ADAL" clId="{6F9B4BD6-F322-4302-BF2E-99EC62EF70B0}" dt="2025-08-31T16:37:44.507" v="2588" actId="1076"/>
          <ac:cxnSpMkLst>
            <pc:docMk/>
            <pc:sldMk cId="256415640" sldId="2147473057"/>
            <ac:cxnSpMk id="29" creationId="{1B76A3FA-2D06-4A4F-9140-FD5744AEB04A}"/>
          </ac:cxnSpMkLst>
        </pc:cxnChg>
        <pc:cxnChg chg="add mod">
          <ac:chgData name="Kartik Sharma" userId="ffa8ac3b-451c-4bd9-94d7-072893ce2c8d" providerId="ADAL" clId="{6F9B4BD6-F322-4302-BF2E-99EC62EF70B0}" dt="2025-08-31T16:35:56.535" v="2387" actId="1076"/>
          <ac:cxnSpMkLst>
            <pc:docMk/>
            <pc:sldMk cId="256415640" sldId="2147473057"/>
            <ac:cxnSpMk id="31" creationId="{4C47AB3A-8E30-8386-25A0-E746C33E445F}"/>
          </ac:cxnSpMkLst>
        </pc:cxnChg>
        <pc:cxnChg chg="add mod">
          <ac:chgData name="Kartik Sharma" userId="ffa8ac3b-451c-4bd9-94d7-072893ce2c8d" providerId="ADAL" clId="{6F9B4BD6-F322-4302-BF2E-99EC62EF70B0}" dt="2025-08-31T16:35:56.535" v="2387" actId="1076"/>
          <ac:cxnSpMkLst>
            <pc:docMk/>
            <pc:sldMk cId="256415640" sldId="2147473057"/>
            <ac:cxnSpMk id="33" creationId="{36A850B7-DF41-2D52-74CC-7AE61F75F6F4}"/>
          </ac:cxnSpMkLst>
        </pc:cxnChg>
        <pc:cxnChg chg="add mod">
          <ac:chgData name="Kartik Sharma" userId="ffa8ac3b-451c-4bd9-94d7-072893ce2c8d" providerId="ADAL" clId="{6F9B4BD6-F322-4302-BF2E-99EC62EF70B0}" dt="2025-08-31T16:35:56.535" v="2387" actId="1076"/>
          <ac:cxnSpMkLst>
            <pc:docMk/>
            <pc:sldMk cId="256415640" sldId="2147473057"/>
            <ac:cxnSpMk id="35" creationId="{7FDB9C21-3085-7F10-751B-8AD24BF5AC46}"/>
          </ac:cxnSpMkLst>
        </pc:cxnChg>
        <pc:cxnChg chg="add mod">
          <ac:chgData name="Kartik Sharma" userId="ffa8ac3b-451c-4bd9-94d7-072893ce2c8d" providerId="ADAL" clId="{6F9B4BD6-F322-4302-BF2E-99EC62EF70B0}" dt="2025-08-31T16:41:48.979" v="3115" actId="1076"/>
          <ac:cxnSpMkLst>
            <pc:docMk/>
            <pc:sldMk cId="256415640" sldId="2147473057"/>
            <ac:cxnSpMk id="37" creationId="{AE1B7903-D21B-EA44-97C8-70D4FCA10476}"/>
          </ac:cxnSpMkLst>
        </pc:cxnChg>
        <pc:cxnChg chg="add mod">
          <ac:chgData name="Kartik Sharma" userId="ffa8ac3b-451c-4bd9-94d7-072893ce2c8d" providerId="ADAL" clId="{6F9B4BD6-F322-4302-BF2E-99EC62EF70B0}" dt="2025-08-31T16:41:48.979" v="3115" actId="1076"/>
          <ac:cxnSpMkLst>
            <pc:docMk/>
            <pc:sldMk cId="256415640" sldId="2147473057"/>
            <ac:cxnSpMk id="39" creationId="{EA9EDDD7-B6DB-D9F3-5D81-E0D2AFB1286E}"/>
          </ac:cxnSpMkLst>
        </pc:cxnChg>
      </pc:sldChg>
      <pc:sldChg chg="addSp delSp modSp mod">
        <pc:chgData name="Kartik Sharma" userId="ffa8ac3b-451c-4bd9-94d7-072893ce2c8d" providerId="ADAL" clId="{6F9B4BD6-F322-4302-BF2E-99EC62EF70B0}" dt="2025-08-31T19:08:15.225" v="3846" actId="478"/>
        <pc:sldMkLst>
          <pc:docMk/>
          <pc:sldMk cId="1492403551" sldId="2147473058"/>
        </pc:sldMkLst>
        <pc:spChg chg="mod">
          <ac:chgData name="Kartik Sharma" userId="ffa8ac3b-451c-4bd9-94d7-072893ce2c8d" providerId="ADAL" clId="{6F9B4BD6-F322-4302-BF2E-99EC62EF70B0}" dt="2025-08-31T19:04:51.394" v="3820" actId="1076"/>
          <ac:spMkLst>
            <pc:docMk/>
            <pc:sldMk cId="1492403551" sldId="2147473058"/>
            <ac:spMk id="3" creationId="{78A295DC-4CF1-4DBD-185A-8F0F9C85832E}"/>
          </ac:spMkLst>
        </pc:spChg>
        <pc:spChg chg="mod">
          <ac:chgData name="Kartik Sharma" userId="ffa8ac3b-451c-4bd9-94d7-072893ce2c8d" providerId="ADAL" clId="{6F9B4BD6-F322-4302-BF2E-99EC62EF70B0}" dt="2025-08-31T15:59:50.153" v="1790" actId="108"/>
          <ac:spMkLst>
            <pc:docMk/>
            <pc:sldMk cId="1492403551" sldId="2147473058"/>
            <ac:spMk id="4" creationId="{76E2F974-859C-A1AC-B8B6-5C3A6E8F990D}"/>
          </ac:spMkLst>
        </pc:spChg>
        <pc:spChg chg="mod">
          <ac:chgData name="Kartik Sharma" userId="ffa8ac3b-451c-4bd9-94d7-072893ce2c8d" providerId="ADAL" clId="{6F9B4BD6-F322-4302-BF2E-99EC62EF70B0}" dt="2025-08-31T15:59:35.192" v="1789"/>
          <ac:spMkLst>
            <pc:docMk/>
            <pc:sldMk cId="1492403551" sldId="2147473058"/>
            <ac:spMk id="5" creationId="{7032C97A-2E61-0541-4017-EBC5E3008C98}"/>
          </ac:spMkLst>
        </pc:spChg>
        <pc:spChg chg="mod">
          <ac:chgData name="Kartik Sharma" userId="ffa8ac3b-451c-4bd9-94d7-072893ce2c8d" providerId="ADAL" clId="{6F9B4BD6-F322-4302-BF2E-99EC62EF70B0}" dt="2025-08-31T18:49:08.233" v="3660" actId="20577"/>
          <ac:spMkLst>
            <pc:docMk/>
            <pc:sldMk cId="1492403551" sldId="2147473058"/>
            <ac:spMk id="11" creationId="{577DD829-0164-C03F-9AE3-04701190BDF8}"/>
          </ac:spMkLst>
        </pc:spChg>
        <pc:spChg chg="mod">
          <ac:chgData name="Kartik Sharma" userId="ffa8ac3b-451c-4bd9-94d7-072893ce2c8d" providerId="ADAL" clId="{6F9B4BD6-F322-4302-BF2E-99EC62EF70B0}" dt="2025-08-31T18:01:53.425" v="3288" actId="20577"/>
          <ac:spMkLst>
            <pc:docMk/>
            <pc:sldMk cId="1492403551" sldId="2147473058"/>
            <ac:spMk id="13" creationId="{AC79C16E-90BB-C62C-52BA-CEAF38C8A6EB}"/>
          </ac:spMkLst>
        </pc:spChg>
        <pc:spChg chg="mod">
          <ac:chgData name="Kartik Sharma" userId="ffa8ac3b-451c-4bd9-94d7-072893ce2c8d" providerId="ADAL" clId="{6F9B4BD6-F322-4302-BF2E-99EC62EF70B0}" dt="2025-08-31T18:01:24.393" v="3270" actId="20577"/>
          <ac:spMkLst>
            <pc:docMk/>
            <pc:sldMk cId="1492403551" sldId="2147473058"/>
            <ac:spMk id="14" creationId="{12F85209-13EF-B5DC-02A0-F1664D002152}"/>
          </ac:spMkLst>
        </pc:spChg>
        <pc:spChg chg="mod">
          <ac:chgData name="Kartik Sharma" userId="ffa8ac3b-451c-4bd9-94d7-072893ce2c8d" providerId="ADAL" clId="{6F9B4BD6-F322-4302-BF2E-99EC62EF70B0}" dt="2025-08-31T18:03:09.277" v="3301" actId="20577"/>
          <ac:spMkLst>
            <pc:docMk/>
            <pc:sldMk cId="1492403551" sldId="2147473058"/>
            <ac:spMk id="15" creationId="{5CF08868-0EA8-D107-DE39-E1000BF40B5D}"/>
          </ac:spMkLst>
        </pc:spChg>
        <pc:spChg chg="add mod">
          <ac:chgData name="Kartik Sharma" userId="ffa8ac3b-451c-4bd9-94d7-072893ce2c8d" providerId="ADAL" clId="{6F9B4BD6-F322-4302-BF2E-99EC62EF70B0}" dt="2025-08-31T18:38:19.164" v="3506" actId="14100"/>
          <ac:spMkLst>
            <pc:docMk/>
            <pc:sldMk cId="1492403551" sldId="2147473058"/>
            <ac:spMk id="21" creationId="{AF308D1D-0ED2-4A9B-159A-0D020F280732}"/>
          </ac:spMkLst>
        </pc:spChg>
        <pc:spChg chg="mod">
          <ac:chgData name="Kartik Sharma" userId="ffa8ac3b-451c-4bd9-94d7-072893ce2c8d" providerId="ADAL" clId="{6F9B4BD6-F322-4302-BF2E-99EC62EF70B0}" dt="2025-08-31T19:06:14.788" v="3825" actId="14100"/>
          <ac:spMkLst>
            <pc:docMk/>
            <pc:sldMk cId="1492403551" sldId="2147473058"/>
            <ac:spMk id="25" creationId="{2D22F02B-0BF0-34C1-2538-D17A5F431A4B}"/>
          </ac:spMkLst>
        </pc:spChg>
        <pc:spChg chg="mod">
          <ac:chgData name="Kartik Sharma" userId="ffa8ac3b-451c-4bd9-94d7-072893ce2c8d" providerId="ADAL" clId="{6F9B4BD6-F322-4302-BF2E-99EC62EF70B0}" dt="2025-08-31T19:06:10.752" v="3824" actId="1076"/>
          <ac:spMkLst>
            <pc:docMk/>
            <pc:sldMk cId="1492403551" sldId="2147473058"/>
            <ac:spMk id="48" creationId="{CCCFB764-3D7E-2BC1-74F9-BD85F78F33AA}"/>
          </ac:spMkLst>
        </pc:spChg>
        <pc:spChg chg="mod">
          <ac:chgData name="Kartik Sharma" userId="ffa8ac3b-451c-4bd9-94d7-072893ce2c8d" providerId="ADAL" clId="{6F9B4BD6-F322-4302-BF2E-99EC62EF70B0}" dt="2025-08-31T18:39:41.513" v="3535" actId="20577"/>
          <ac:spMkLst>
            <pc:docMk/>
            <pc:sldMk cId="1492403551" sldId="2147473058"/>
            <ac:spMk id="55" creationId="{7560A58D-9C5A-9004-ED7B-B8F0C535B604}"/>
          </ac:spMkLst>
        </pc:spChg>
        <pc:spChg chg="mod">
          <ac:chgData name="Kartik Sharma" userId="ffa8ac3b-451c-4bd9-94d7-072893ce2c8d" providerId="ADAL" clId="{6F9B4BD6-F322-4302-BF2E-99EC62EF70B0}" dt="2025-08-31T19:06:21.835" v="3826" actId="1076"/>
          <ac:spMkLst>
            <pc:docMk/>
            <pc:sldMk cId="1492403551" sldId="2147473058"/>
            <ac:spMk id="57" creationId="{852FBEA2-1395-9B94-FC74-0AFED3B9DFC1}"/>
          </ac:spMkLst>
        </pc:spChg>
        <pc:spChg chg="mod">
          <ac:chgData name="Kartik Sharma" userId="ffa8ac3b-451c-4bd9-94d7-072893ce2c8d" providerId="ADAL" clId="{6F9B4BD6-F322-4302-BF2E-99EC62EF70B0}" dt="2025-08-31T18:39:11.437" v="3519" actId="20577"/>
          <ac:spMkLst>
            <pc:docMk/>
            <pc:sldMk cId="1492403551" sldId="2147473058"/>
            <ac:spMk id="63" creationId="{8EDDA7E5-0524-861C-82DA-52C95236D4B0}"/>
          </ac:spMkLst>
        </pc:spChg>
        <pc:picChg chg="add mod">
          <ac:chgData name="Kartik Sharma" userId="ffa8ac3b-451c-4bd9-94d7-072893ce2c8d" providerId="ADAL" clId="{6F9B4BD6-F322-4302-BF2E-99EC62EF70B0}" dt="2025-08-31T19:07:40.425" v="3834" actId="1076"/>
          <ac:picMkLst>
            <pc:docMk/>
            <pc:sldMk cId="1492403551" sldId="2147473058"/>
            <ac:picMk id="20" creationId="{6BE602E5-41E2-6DF3-11A1-C6ADB4127BD8}"/>
          </ac:picMkLst>
        </pc:picChg>
      </pc:sldChg>
    </pc:docChg>
  </pc:docChgLst>
  <pc:docChgLst>
    <pc:chgData name="Ria Jha" userId="8589c87f-6000-4143-bd88-dc2330063ed3" providerId="ADAL" clId="{BC258941-2AFB-4B30-803C-8C128EE6FD10}"/>
    <pc:docChg chg="modSld">
      <pc:chgData name="Ria Jha" userId="8589c87f-6000-4143-bd88-dc2330063ed3" providerId="ADAL" clId="{BC258941-2AFB-4B30-803C-8C128EE6FD10}" dt="2025-08-31T16:57:28.308" v="8" actId="20577"/>
      <pc:docMkLst>
        <pc:docMk/>
      </pc:docMkLst>
      <pc:sldChg chg="modSp mod">
        <pc:chgData name="Ria Jha" userId="8589c87f-6000-4143-bd88-dc2330063ed3" providerId="ADAL" clId="{BC258941-2AFB-4B30-803C-8C128EE6FD10}" dt="2025-08-31T16:57:28.308" v="8" actId="20577"/>
        <pc:sldMkLst>
          <pc:docMk/>
          <pc:sldMk cId="848436090" sldId="264"/>
        </pc:sldMkLst>
        <pc:spChg chg="mod">
          <ac:chgData name="Ria Jha" userId="8589c87f-6000-4143-bd88-dc2330063ed3" providerId="ADAL" clId="{BC258941-2AFB-4B30-803C-8C128EE6FD10}" dt="2025-08-31T16:57:11.713" v="1" actId="20577"/>
          <ac:spMkLst>
            <pc:docMk/>
            <pc:sldMk cId="848436090" sldId="264"/>
            <ac:spMk id="59" creationId="{68BC98B3-B983-82CB-B2FF-9F787FEB33E0}"/>
          </ac:spMkLst>
        </pc:spChg>
        <pc:spChg chg="mod">
          <ac:chgData name="Ria Jha" userId="8589c87f-6000-4143-bd88-dc2330063ed3" providerId="ADAL" clId="{BC258941-2AFB-4B30-803C-8C128EE6FD10}" dt="2025-08-31T16:57:28.308" v="8" actId="20577"/>
          <ac:spMkLst>
            <pc:docMk/>
            <pc:sldMk cId="848436090" sldId="264"/>
            <ac:spMk id="79" creationId="{AF792A8F-2297-7055-304B-7A228378BC25}"/>
          </ac:spMkLst>
        </pc:spChg>
      </pc:sldChg>
    </pc:docChg>
  </pc:docChgLst>
  <pc:docChgLst>
    <pc:chgData name="Kartik Sharma" userId="S::kartik.sharma2026@bitsom.edu.in::ffa8ac3b-451c-4bd9-94d7-072893ce2c8d" providerId="AD" clId="Web-{6C7E2FD1-E83F-2D9C-D460-815E88314045}"/>
    <pc:docChg chg="modSld">
      <pc:chgData name="Kartik Sharma" userId="S::kartik.sharma2026@bitsom.edu.in::ffa8ac3b-451c-4bd9-94d7-072893ce2c8d" providerId="AD" clId="Web-{6C7E2FD1-E83F-2D9C-D460-815E88314045}" dt="2025-08-30T18:20:24.551" v="6" actId="14100"/>
      <pc:docMkLst>
        <pc:docMk/>
      </pc:docMkLst>
      <pc:sldChg chg="addSp modSp">
        <pc:chgData name="Kartik Sharma" userId="S::kartik.sharma2026@bitsom.edu.in::ffa8ac3b-451c-4bd9-94d7-072893ce2c8d" providerId="AD" clId="Web-{6C7E2FD1-E83F-2D9C-D460-815E88314045}" dt="2025-08-30T18:20:24.551" v="6" actId="14100"/>
        <pc:sldMkLst>
          <pc:docMk/>
          <pc:sldMk cId="848436090" sldId="264"/>
        </pc:sldMkLst>
      </pc:sldChg>
    </pc:docChg>
  </pc:docChgLst>
  <pc:docChgLst>
    <pc:chgData name="Vedang Poddar" userId="db7cd9a2-6584-4ffe-b5dc-9b2c028584de" providerId="ADAL" clId="{0AF36B87-8C6F-4169-9758-9DF6326E56DD}"/>
    <pc:docChg chg="undo redo custSel addSld delSld modSld modMainMaster addSection delSection modSection">
      <pc:chgData name="Vedang Poddar" userId="db7cd9a2-6584-4ffe-b5dc-9b2c028584de" providerId="ADAL" clId="{0AF36B87-8C6F-4169-9758-9DF6326E56DD}" dt="2025-09-10T20:34:36.754" v="10807" actId="1076"/>
      <pc:docMkLst>
        <pc:docMk/>
      </pc:docMkLst>
      <pc:sldChg chg="addSp delSp modSp mod">
        <pc:chgData name="Vedang Poddar" userId="db7cd9a2-6584-4ffe-b5dc-9b2c028584de" providerId="ADAL" clId="{0AF36B87-8C6F-4169-9758-9DF6326E56DD}" dt="2025-08-30T10:29:07.696" v="61" actId="1076"/>
        <pc:sldMkLst>
          <pc:docMk/>
          <pc:sldMk cId="2251381016" sldId="256"/>
        </pc:sldMkLst>
      </pc:sldChg>
      <pc:sldChg chg="addSp delSp modSp new del mod">
        <pc:chgData name="Vedang Poddar" userId="db7cd9a2-6584-4ffe-b5dc-9b2c028584de" providerId="ADAL" clId="{0AF36B87-8C6F-4169-9758-9DF6326E56DD}" dt="2025-08-31T17:45:38.974" v="7371" actId="47"/>
        <pc:sldMkLst>
          <pc:docMk/>
          <pc:sldMk cId="3688369269" sldId="257"/>
        </pc:sldMkLst>
      </pc:sldChg>
      <pc:sldChg chg="new">
        <pc:chgData name="Vedang Poddar" userId="db7cd9a2-6584-4ffe-b5dc-9b2c028584de" providerId="ADAL" clId="{0AF36B87-8C6F-4169-9758-9DF6326E56DD}" dt="2025-08-30T09:59:53.571" v="50" actId="680"/>
        <pc:sldMkLst>
          <pc:docMk/>
          <pc:sldMk cId="446759100" sldId="258"/>
        </pc:sldMkLst>
      </pc:sldChg>
      <pc:sldChg chg="new del">
        <pc:chgData name="Vedang Poddar" userId="db7cd9a2-6584-4ffe-b5dc-9b2c028584de" providerId="ADAL" clId="{0AF36B87-8C6F-4169-9758-9DF6326E56DD}" dt="2025-08-30T11:30:32.112" v="63" actId="47"/>
        <pc:sldMkLst>
          <pc:docMk/>
          <pc:sldMk cId="1983503158" sldId="259"/>
        </pc:sldMkLst>
      </pc:sldChg>
      <pc:sldChg chg="addSp modSp new del mod">
        <pc:chgData name="Vedang Poddar" userId="db7cd9a2-6584-4ffe-b5dc-9b2c028584de" providerId="ADAL" clId="{0AF36B87-8C6F-4169-9758-9DF6326E56DD}" dt="2025-08-31T17:45:41.225" v="7372" actId="47"/>
        <pc:sldMkLst>
          <pc:docMk/>
          <pc:sldMk cId="2504304716" sldId="259"/>
        </pc:sldMkLst>
      </pc:sldChg>
      <pc:sldChg chg="addSp delSp modSp mod">
        <pc:chgData name="Vedang Poddar" userId="db7cd9a2-6584-4ffe-b5dc-9b2c028584de" providerId="ADAL" clId="{0AF36B87-8C6F-4169-9758-9DF6326E56DD}" dt="2025-08-31T22:16:17.658" v="10800" actId="2"/>
        <pc:sldMkLst>
          <pc:docMk/>
          <pc:sldMk cId="1920365695" sldId="261"/>
        </pc:sldMkLst>
        <pc:spChg chg="mod">
          <ac:chgData name="Vedang Poddar" userId="db7cd9a2-6584-4ffe-b5dc-9b2c028584de" providerId="ADAL" clId="{0AF36B87-8C6F-4169-9758-9DF6326E56DD}" dt="2025-08-31T22:16:16.585" v="10798" actId="2"/>
          <ac:spMkLst>
            <pc:docMk/>
            <pc:sldMk cId="1920365695" sldId="261"/>
            <ac:spMk id="6" creationId="{8E96D453-312E-9A07-59CA-3915523863AA}"/>
          </ac:spMkLst>
        </pc:spChg>
        <pc:spChg chg="mod">
          <ac:chgData name="Vedang Poddar" userId="db7cd9a2-6584-4ffe-b5dc-9b2c028584de" providerId="ADAL" clId="{0AF36B87-8C6F-4169-9758-9DF6326E56DD}" dt="2025-08-31T22:16:17.658" v="10800" actId="2"/>
          <ac:spMkLst>
            <pc:docMk/>
            <pc:sldMk cId="1920365695" sldId="261"/>
            <ac:spMk id="8" creationId="{DDA9C9C1-E5BF-31E8-B383-C24625EF3342}"/>
          </ac:spMkLst>
        </pc:spChg>
        <pc:spChg chg="add mod">
          <ac:chgData name="Vedang Poddar" userId="db7cd9a2-6584-4ffe-b5dc-9b2c028584de" providerId="ADAL" clId="{0AF36B87-8C6F-4169-9758-9DF6326E56DD}" dt="2025-08-31T10:39:16.096" v="3229" actId="20577"/>
          <ac:spMkLst>
            <pc:docMk/>
            <pc:sldMk cId="1920365695" sldId="261"/>
            <ac:spMk id="86" creationId="{843C83FA-3984-8515-24AE-316F50C6CE0A}"/>
          </ac:spMkLst>
        </pc:spChg>
        <pc:spChg chg="add mod">
          <ac:chgData name="Vedang Poddar" userId="db7cd9a2-6584-4ffe-b5dc-9b2c028584de" providerId="ADAL" clId="{0AF36B87-8C6F-4169-9758-9DF6326E56DD}" dt="2025-08-31T16:48:27.410" v="6214" actId="113"/>
          <ac:spMkLst>
            <pc:docMk/>
            <pc:sldMk cId="1920365695" sldId="261"/>
            <ac:spMk id="130" creationId="{FCBBDC08-6E47-E712-9C9F-C45690076C4C}"/>
          </ac:spMkLst>
        </pc:spChg>
        <pc:spChg chg="add mod">
          <ac:chgData name="Vedang Poddar" userId="db7cd9a2-6584-4ffe-b5dc-9b2c028584de" providerId="ADAL" clId="{0AF36B87-8C6F-4169-9758-9DF6326E56DD}" dt="2025-08-31T16:52:33.046" v="6356" actId="113"/>
          <ac:spMkLst>
            <pc:docMk/>
            <pc:sldMk cId="1920365695" sldId="261"/>
            <ac:spMk id="139" creationId="{ECECAC5D-A0C5-D9BA-EDC3-0EADC9CB45E7}"/>
          </ac:spMkLst>
        </pc:spChg>
        <pc:spChg chg="mod">
          <ac:chgData name="Vedang Poddar" userId="db7cd9a2-6584-4ffe-b5dc-9b2c028584de" providerId="ADAL" clId="{0AF36B87-8C6F-4169-9758-9DF6326E56DD}" dt="2025-08-31T16:54:04.747" v="6480" actId="313"/>
          <ac:spMkLst>
            <pc:docMk/>
            <pc:sldMk cId="1920365695" sldId="261"/>
            <ac:spMk id="149" creationId="{7A942AF4-3370-2B13-E0D6-0A883B4658C1}"/>
          </ac:spMkLst>
        </pc:spChg>
        <pc:spChg chg="mod">
          <ac:chgData name="Vedang Poddar" userId="db7cd9a2-6584-4ffe-b5dc-9b2c028584de" providerId="ADAL" clId="{0AF36B87-8C6F-4169-9758-9DF6326E56DD}" dt="2025-08-31T16:55:10.842" v="6616" actId="1076"/>
          <ac:spMkLst>
            <pc:docMk/>
            <pc:sldMk cId="1920365695" sldId="261"/>
            <ac:spMk id="152" creationId="{ABCD5E39-699B-C3FF-8E80-44B42A71B80B}"/>
          </ac:spMkLst>
        </pc:spChg>
        <pc:spChg chg="add mod">
          <ac:chgData name="Vedang Poddar" userId="db7cd9a2-6584-4ffe-b5dc-9b2c028584de" providerId="ADAL" clId="{0AF36B87-8C6F-4169-9758-9DF6326E56DD}" dt="2025-08-31T19:03:16.920" v="7797" actId="14100"/>
          <ac:spMkLst>
            <pc:docMk/>
            <pc:sldMk cId="1920365695" sldId="261"/>
            <ac:spMk id="154" creationId="{2CD3231F-191C-6FBB-8B9D-70957972F146}"/>
          </ac:spMkLst>
        </pc:spChg>
        <pc:grpChg chg="add mod">
          <ac:chgData name="Vedang Poddar" userId="db7cd9a2-6584-4ffe-b5dc-9b2c028584de" providerId="ADAL" clId="{0AF36B87-8C6F-4169-9758-9DF6326E56DD}" dt="2025-08-31T16:49:29.857" v="6241" actId="1076"/>
          <ac:grpSpMkLst>
            <pc:docMk/>
            <pc:sldMk cId="1920365695" sldId="261"/>
            <ac:grpSpMk id="132" creationId="{BF9AF123-0262-5104-FAE8-07C137423BC0}"/>
          </ac:grpSpMkLst>
        </pc:grpChg>
        <pc:grpChg chg="add mod">
          <ac:chgData name="Vedang Poddar" userId="db7cd9a2-6584-4ffe-b5dc-9b2c028584de" providerId="ADAL" clId="{0AF36B87-8C6F-4169-9758-9DF6326E56DD}" dt="2025-08-31T17:02:56.330" v="6850" actId="1076"/>
          <ac:grpSpMkLst>
            <pc:docMk/>
            <pc:sldMk cId="1920365695" sldId="261"/>
            <ac:grpSpMk id="144" creationId="{685D75A2-F65F-BDA2-07E3-293FB51D238E}"/>
          </ac:grpSpMkLst>
        </pc:grpChg>
        <pc:grpChg chg="add mod">
          <ac:chgData name="Vedang Poddar" userId="db7cd9a2-6584-4ffe-b5dc-9b2c028584de" providerId="ADAL" clId="{0AF36B87-8C6F-4169-9758-9DF6326E56DD}" dt="2025-08-31T16:53:23.360" v="6441" actId="14100"/>
          <ac:grpSpMkLst>
            <pc:docMk/>
            <pc:sldMk cId="1920365695" sldId="261"/>
            <ac:grpSpMk id="148" creationId="{396410EC-F959-7D38-28C2-BD18436026AB}"/>
          </ac:grpSpMkLst>
        </pc:grpChg>
        <pc:grpChg chg="add mod">
          <ac:chgData name="Vedang Poddar" userId="db7cd9a2-6584-4ffe-b5dc-9b2c028584de" providerId="ADAL" clId="{0AF36B87-8C6F-4169-9758-9DF6326E56DD}" dt="2025-08-31T16:55:18.651" v="6619" actId="14100"/>
          <ac:grpSpMkLst>
            <pc:docMk/>
            <pc:sldMk cId="1920365695" sldId="261"/>
            <ac:grpSpMk id="151" creationId="{C75CBCF8-5F6B-7DB6-9CF0-DF8E579FDA0E}"/>
          </ac:grpSpMkLst>
        </pc:grpChg>
        <pc:picChg chg="add mod">
          <ac:chgData name="Vedang Poddar" userId="db7cd9a2-6584-4ffe-b5dc-9b2c028584de" providerId="ADAL" clId="{0AF36B87-8C6F-4169-9758-9DF6326E56DD}" dt="2025-08-31T17:02:46.556" v="6847" actId="1076"/>
          <ac:picMkLst>
            <pc:docMk/>
            <pc:sldMk cId="1920365695" sldId="261"/>
            <ac:picMk id="116" creationId="{7B751B7B-C0E0-B2E3-80F6-B2131FD36EDB}"/>
          </ac:picMkLst>
        </pc:picChg>
        <pc:picChg chg="add mod">
          <ac:chgData name="Vedang Poddar" userId="db7cd9a2-6584-4ffe-b5dc-9b2c028584de" providerId="ADAL" clId="{0AF36B87-8C6F-4169-9758-9DF6326E56DD}" dt="2025-08-31T16:49:18.243" v="6236" actId="1035"/>
          <ac:picMkLst>
            <pc:docMk/>
            <pc:sldMk cId="1920365695" sldId="261"/>
            <ac:picMk id="121" creationId="{5B253A97-BB96-844A-2B5D-E3B74C833F73}"/>
          </ac:picMkLst>
        </pc:picChg>
        <pc:picChg chg="add mod">
          <ac:chgData name="Vedang Poddar" userId="db7cd9a2-6584-4ffe-b5dc-9b2c028584de" providerId="ADAL" clId="{0AF36B87-8C6F-4169-9758-9DF6326E56DD}" dt="2025-08-31T16:49:18.243" v="6236" actId="1035"/>
          <ac:picMkLst>
            <pc:docMk/>
            <pc:sldMk cId="1920365695" sldId="261"/>
            <ac:picMk id="123" creationId="{91E5B8F4-E1C3-377B-744A-26230AC0DD9B}"/>
          </ac:picMkLst>
        </pc:picChg>
        <pc:picChg chg="add mod">
          <ac:chgData name="Vedang Poddar" userId="db7cd9a2-6584-4ffe-b5dc-9b2c028584de" providerId="ADAL" clId="{0AF36B87-8C6F-4169-9758-9DF6326E56DD}" dt="2025-08-31T16:55:06.159" v="6614" actId="1076"/>
          <ac:picMkLst>
            <pc:docMk/>
            <pc:sldMk cId="1920365695" sldId="261"/>
            <ac:picMk id="128" creationId="{A8D803A1-DEB9-C901-F85E-0B12AD97C606}"/>
          </ac:picMkLst>
        </pc:picChg>
        <pc:cxnChg chg="add mod">
          <ac:chgData name="Vedang Poddar" userId="db7cd9a2-6584-4ffe-b5dc-9b2c028584de" providerId="ADAL" clId="{0AF36B87-8C6F-4169-9758-9DF6326E56DD}" dt="2025-08-31T16:47:20.326" v="6131" actId="1076"/>
          <ac:cxnSpMkLst>
            <pc:docMk/>
            <pc:sldMk cId="1920365695" sldId="261"/>
            <ac:cxnSpMk id="131" creationId="{0CEC2F7A-04C9-C8F4-CEF9-AD8770306D5F}"/>
          </ac:cxnSpMkLst>
        </pc:cxnChg>
        <pc:cxnChg chg="add mod">
          <ac:chgData name="Vedang Poddar" userId="db7cd9a2-6584-4ffe-b5dc-9b2c028584de" providerId="ADAL" clId="{0AF36B87-8C6F-4169-9758-9DF6326E56DD}" dt="2025-08-31T16:47:01.611" v="6129" actId="1038"/>
          <ac:cxnSpMkLst>
            <pc:docMk/>
            <pc:sldMk cId="1920365695" sldId="261"/>
            <ac:cxnSpMk id="135" creationId="{9648A94D-6F1E-3DD3-DDF4-0B34CCB58F5A}"/>
          </ac:cxnSpMkLst>
        </pc:cxnChg>
        <pc:cxnChg chg="add mod">
          <ac:chgData name="Vedang Poddar" userId="db7cd9a2-6584-4ffe-b5dc-9b2c028584de" providerId="ADAL" clId="{0AF36B87-8C6F-4169-9758-9DF6326E56DD}" dt="2025-08-31T16:47:01.611" v="6129" actId="1038"/>
          <ac:cxnSpMkLst>
            <pc:docMk/>
            <pc:sldMk cId="1920365695" sldId="261"/>
            <ac:cxnSpMk id="136" creationId="{9113F042-6B91-34CE-AF42-5F50B8CE6E94}"/>
          </ac:cxnSpMkLst>
        </pc:cxnChg>
        <pc:cxnChg chg="add mod">
          <ac:chgData name="Vedang Poddar" userId="db7cd9a2-6584-4ffe-b5dc-9b2c028584de" providerId="ADAL" clId="{0AF36B87-8C6F-4169-9758-9DF6326E56DD}" dt="2025-08-31T16:47:01.611" v="6129" actId="1038"/>
          <ac:cxnSpMkLst>
            <pc:docMk/>
            <pc:sldMk cId="1920365695" sldId="261"/>
            <ac:cxnSpMk id="137" creationId="{B7C65765-1F2F-4B51-9799-DF1B2C0EE2BA}"/>
          </ac:cxnSpMkLst>
        </pc:cxnChg>
        <pc:cxnChg chg="add mod">
          <ac:chgData name="Vedang Poddar" userId="db7cd9a2-6584-4ffe-b5dc-9b2c028584de" providerId="ADAL" clId="{0AF36B87-8C6F-4169-9758-9DF6326E56DD}" dt="2025-08-31T17:02:52.285" v="6849" actId="1076"/>
          <ac:cxnSpMkLst>
            <pc:docMk/>
            <pc:sldMk cId="1920365695" sldId="261"/>
            <ac:cxnSpMk id="140" creationId="{EF292762-A13A-A6BB-F1E2-B103032F3DD1}"/>
          </ac:cxnSpMkLst>
        </pc:cxnChg>
        <pc:cxnChg chg="mod">
          <ac:chgData name="Vedang Poddar" userId="db7cd9a2-6584-4ffe-b5dc-9b2c028584de" providerId="ADAL" clId="{0AF36B87-8C6F-4169-9758-9DF6326E56DD}" dt="2025-08-31T16:52:41.293" v="6357"/>
          <ac:cxnSpMkLst>
            <pc:docMk/>
            <pc:sldMk cId="1920365695" sldId="261"/>
            <ac:cxnSpMk id="150" creationId="{7F30772E-85FA-F131-CD89-17753DC0079D}"/>
          </ac:cxnSpMkLst>
        </pc:cxnChg>
        <pc:cxnChg chg="mod">
          <ac:chgData name="Vedang Poddar" userId="db7cd9a2-6584-4ffe-b5dc-9b2c028584de" providerId="ADAL" clId="{0AF36B87-8C6F-4169-9758-9DF6326E56DD}" dt="2025-08-31T16:53:31.154" v="6442"/>
          <ac:cxnSpMkLst>
            <pc:docMk/>
            <pc:sldMk cId="1920365695" sldId="261"/>
            <ac:cxnSpMk id="153" creationId="{7595260E-DE19-90C3-87AF-49303CB8832B}"/>
          </ac:cxnSpMkLst>
        </pc:cxnChg>
      </pc:sldChg>
      <pc:sldChg chg="addSp delSp modSp mod">
        <pc:chgData name="Vedang Poddar" userId="db7cd9a2-6584-4ffe-b5dc-9b2c028584de" providerId="ADAL" clId="{0AF36B87-8C6F-4169-9758-9DF6326E56DD}" dt="2025-09-10T19:54:38.906" v="10801" actId="13926"/>
        <pc:sldMkLst>
          <pc:docMk/>
          <pc:sldMk cId="783413265" sldId="262"/>
        </pc:sldMkLst>
        <pc:spChg chg="mod">
          <ac:chgData name="Vedang Poddar" userId="db7cd9a2-6584-4ffe-b5dc-9b2c028584de" providerId="ADAL" clId="{0AF36B87-8C6F-4169-9758-9DF6326E56DD}" dt="2025-08-31T17:42:53.930" v="7369" actId="122"/>
          <ac:spMkLst>
            <pc:docMk/>
            <pc:sldMk cId="783413265" sldId="262"/>
            <ac:spMk id="3" creationId="{D203D817-BF9C-35EB-1551-D8568847E5FF}"/>
          </ac:spMkLst>
        </pc:spChg>
        <pc:spChg chg="add mod">
          <ac:chgData name="Vedang Poddar" userId="db7cd9a2-6584-4ffe-b5dc-9b2c028584de" providerId="ADAL" clId="{0AF36B87-8C6F-4169-9758-9DF6326E56DD}" dt="2025-08-31T17:36:34.185" v="7189" actId="1076"/>
          <ac:spMkLst>
            <pc:docMk/>
            <pc:sldMk cId="783413265" sldId="262"/>
            <ac:spMk id="13" creationId="{3A4299D2-31D6-F98A-9CE2-A5C9FFE7A713}"/>
          </ac:spMkLst>
        </pc:spChg>
        <pc:spChg chg="add mod">
          <ac:chgData name="Vedang Poddar" userId="db7cd9a2-6584-4ffe-b5dc-9b2c028584de" providerId="ADAL" clId="{0AF36B87-8C6F-4169-9758-9DF6326E56DD}" dt="2025-09-10T19:54:38.906" v="10801" actId="13926"/>
          <ac:spMkLst>
            <pc:docMk/>
            <pc:sldMk cId="783413265" sldId="262"/>
            <ac:spMk id="14" creationId="{470E0165-49C1-FFCD-62B4-E45FD3F5FBCD}"/>
          </ac:spMkLst>
        </pc:spChg>
        <pc:spChg chg="add mod">
          <ac:chgData name="Vedang Poddar" userId="db7cd9a2-6584-4ffe-b5dc-9b2c028584de" providerId="ADAL" clId="{0AF36B87-8C6F-4169-9758-9DF6326E56DD}" dt="2025-08-31T22:02:30.092" v="10745" actId="12789"/>
          <ac:spMkLst>
            <pc:docMk/>
            <pc:sldMk cId="783413265" sldId="262"/>
            <ac:spMk id="15" creationId="{E33BABD8-B22E-A426-BA85-62228D8BDF95}"/>
          </ac:spMkLst>
        </pc:spChg>
        <pc:spChg chg="add mod">
          <ac:chgData name="Vedang Poddar" userId="db7cd9a2-6584-4ffe-b5dc-9b2c028584de" providerId="ADAL" clId="{0AF36B87-8C6F-4169-9758-9DF6326E56DD}" dt="2025-08-31T22:02:30.092" v="10745" actId="12789"/>
          <ac:spMkLst>
            <pc:docMk/>
            <pc:sldMk cId="783413265" sldId="262"/>
            <ac:spMk id="16" creationId="{F31F053D-7314-5ADF-1587-21E281900D60}"/>
          </ac:spMkLst>
        </pc:spChg>
        <pc:graphicFrameChg chg="add mod modGraphic">
          <ac:chgData name="Vedang Poddar" userId="db7cd9a2-6584-4ffe-b5dc-9b2c028584de" providerId="ADAL" clId="{0AF36B87-8C6F-4169-9758-9DF6326E56DD}" dt="2025-08-31T22:02:27.430" v="10744" actId="1076"/>
          <ac:graphicFrameMkLst>
            <pc:docMk/>
            <pc:sldMk cId="783413265" sldId="262"/>
            <ac:graphicFrameMk id="9" creationId="{A931B4E5-6C8D-9383-AE27-6A58E58578D6}"/>
          </ac:graphicFrameMkLst>
        </pc:graphicFrameChg>
        <pc:graphicFrameChg chg="add mod modGraphic">
          <ac:chgData name="Vedang Poddar" userId="db7cd9a2-6584-4ffe-b5dc-9b2c028584de" providerId="ADAL" clId="{0AF36B87-8C6F-4169-9758-9DF6326E56DD}" dt="2025-08-31T17:41:14.645" v="7256" actId="1076"/>
          <ac:graphicFrameMkLst>
            <pc:docMk/>
            <pc:sldMk cId="783413265" sldId="262"/>
            <ac:graphicFrameMk id="10" creationId="{28EE1B10-78C3-972D-4679-FCCAD752B34E}"/>
          </ac:graphicFrameMkLst>
        </pc:graphicFrameChg>
        <pc:graphicFrameChg chg="add mod modGraphic">
          <ac:chgData name="Vedang Poddar" userId="db7cd9a2-6584-4ffe-b5dc-9b2c028584de" providerId="ADAL" clId="{0AF36B87-8C6F-4169-9758-9DF6326E56DD}" dt="2025-08-31T17:39:15.935" v="7213" actId="2085"/>
          <ac:graphicFrameMkLst>
            <pc:docMk/>
            <pc:sldMk cId="783413265" sldId="262"/>
            <ac:graphicFrameMk id="11" creationId="{AB604452-5286-1E4F-1B49-031D10722271}"/>
          </ac:graphicFrameMkLst>
        </pc:graphicFrameChg>
        <pc:graphicFrameChg chg="add mod modGraphic">
          <ac:chgData name="Vedang Poddar" userId="db7cd9a2-6584-4ffe-b5dc-9b2c028584de" providerId="ADAL" clId="{0AF36B87-8C6F-4169-9758-9DF6326E56DD}" dt="2025-08-31T17:36:29.449" v="7188" actId="1076"/>
          <ac:graphicFrameMkLst>
            <pc:docMk/>
            <pc:sldMk cId="783413265" sldId="262"/>
            <ac:graphicFrameMk id="12" creationId="{58F4C4CE-4AB0-CC36-EAEC-7E6C4581850E}"/>
          </ac:graphicFrameMkLst>
        </pc:graphicFrameChg>
      </pc:sldChg>
      <pc:sldChg chg="del">
        <pc:chgData name="Vedang Poddar" userId="db7cd9a2-6584-4ffe-b5dc-9b2c028584de" providerId="ADAL" clId="{0AF36B87-8C6F-4169-9758-9DF6326E56DD}" dt="2025-08-31T17:43:11.175" v="7370" actId="47"/>
        <pc:sldMkLst>
          <pc:docMk/>
          <pc:sldMk cId="1544015432" sldId="263"/>
        </pc:sldMkLst>
      </pc:sldChg>
      <pc:sldChg chg="addSp delSp modSp mod setBg">
        <pc:chgData name="Vedang Poddar" userId="db7cd9a2-6584-4ffe-b5dc-9b2c028584de" providerId="ADAL" clId="{0AF36B87-8C6F-4169-9758-9DF6326E56DD}" dt="2025-08-31T22:16:12.832" v="10795" actId="313"/>
        <pc:sldMkLst>
          <pc:docMk/>
          <pc:sldMk cId="848436090" sldId="264"/>
        </pc:sldMkLst>
        <pc:spChg chg="mod">
          <ac:chgData name="Vedang Poddar" userId="db7cd9a2-6584-4ffe-b5dc-9b2c028584de" providerId="ADAL" clId="{0AF36B87-8C6F-4169-9758-9DF6326E56DD}" dt="2025-08-31T19:14:47.925" v="8435" actId="122"/>
          <ac:spMkLst>
            <pc:docMk/>
            <pc:sldMk cId="848436090" sldId="264"/>
            <ac:spMk id="3" creationId="{073E9F40-B639-C30B-4307-C5AEFEC640B7}"/>
          </ac:spMkLst>
        </pc:spChg>
        <pc:spChg chg="mod">
          <ac:chgData name="Vedang Poddar" userId="db7cd9a2-6584-4ffe-b5dc-9b2c028584de" providerId="ADAL" clId="{0AF36B87-8C6F-4169-9758-9DF6326E56DD}" dt="2025-08-31T19:02:17.212" v="7732" actId="1037"/>
          <ac:spMkLst>
            <pc:docMk/>
            <pc:sldMk cId="848436090" sldId="264"/>
            <ac:spMk id="7" creationId="{FEE0C4E3-21E3-A499-62BC-07B4D39DF61F}"/>
          </ac:spMkLst>
        </pc:spChg>
        <pc:spChg chg="mod">
          <ac:chgData name="Vedang Poddar" userId="db7cd9a2-6584-4ffe-b5dc-9b2c028584de" providerId="ADAL" clId="{0AF36B87-8C6F-4169-9758-9DF6326E56DD}" dt="2025-08-31T19:02:17.212" v="7732" actId="1037"/>
          <ac:spMkLst>
            <pc:docMk/>
            <pc:sldMk cId="848436090" sldId="264"/>
            <ac:spMk id="8" creationId="{6662075B-2641-051D-CB8F-F52298AB83D3}"/>
          </ac:spMkLst>
        </pc:spChg>
        <pc:spChg chg="mod">
          <ac:chgData name="Vedang Poddar" userId="db7cd9a2-6584-4ffe-b5dc-9b2c028584de" providerId="ADAL" clId="{0AF36B87-8C6F-4169-9758-9DF6326E56DD}" dt="2025-08-31T16:08:53.638" v="4813" actId="1076"/>
          <ac:spMkLst>
            <pc:docMk/>
            <pc:sldMk cId="848436090" sldId="264"/>
            <ac:spMk id="11" creationId="{028B5CF0-15C7-C0A3-C604-9A4AE131F9FD}"/>
          </ac:spMkLst>
        </pc:spChg>
        <pc:spChg chg="mod">
          <ac:chgData name="Vedang Poddar" userId="db7cd9a2-6584-4ffe-b5dc-9b2c028584de" providerId="ADAL" clId="{0AF36B87-8C6F-4169-9758-9DF6326E56DD}" dt="2025-08-31T22:16:04.607" v="10793" actId="2"/>
          <ac:spMkLst>
            <pc:docMk/>
            <pc:sldMk cId="848436090" sldId="264"/>
            <ac:spMk id="12" creationId="{1507033D-4BF8-6280-C730-27F0CD10E9C7}"/>
          </ac:spMkLst>
        </pc:spChg>
        <pc:spChg chg="mod">
          <ac:chgData name="Vedang Poddar" userId="db7cd9a2-6584-4ffe-b5dc-9b2c028584de" providerId="ADAL" clId="{0AF36B87-8C6F-4169-9758-9DF6326E56DD}" dt="2025-08-31T22:16:12.832" v="10795" actId="313"/>
          <ac:spMkLst>
            <pc:docMk/>
            <pc:sldMk cId="848436090" sldId="264"/>
            <ac:spMk id="14" creationId="{58DB9D27-9CC8-FB26-98CF-7942E35A16D3}"/>
          </ac:spMkLst>
        </pc:spChg>
        <pc:spChg chg="add mod">
          <ac:chgData name="Vedang Poddar" userId="db7cd9a2-6584-4ffe-b5dc-9b2c028584de" providerId="ADAL" clId="{0AF36B87-8C6F-4169-9758-9DF6326E56DD}" dt="2025-08-31T19:04:00.504" v="7836" actId="1038"/>
          <ac:spMkLst>
            <pc:docMk/>
            <pc:sldMk cId="848436090" sldId="264"/>
            <ac:spMk id="16" creationId="{F367C236-5E00-2727-BC69-724115B1A962}"/>
          </ac:spMkLst>
        </pc:spChg>
        <pc:spChg chg="add mod">
          <ac:chgData name="Vedang Poddar" userId="db7cd9a2-6584-4ffe-b5dc-9b2c028584de" providerId="ADAL" clId="{0AF36B87-8C6F-4169-9758-9DF6326E56DD}" dt="2025-08-31T17:46:34.326" v="7400" actId="1035"/>
          <ac:spMkLst>
            <pc:docMk/>
            <pc:sldMk cId="848436090" sldId="264"/>
            <ac:spMk id="18" creationId="{2A214441-D574-CB8F-2C4C-E88F82960F4A}"/>
          </ac:spMkLst>
        </pc:spChg>
        <pc:spChg chg="add mod">
          <ac:chgData name="Vedang Poddar" userId="db7cd9a2-6584-4ffe-b5dc-9b2c028584de" providerId="ADAL" clId="{0AF36B87-8C6F-4169-9758-9DF6326E56DD}" dt="2025-08-31T19:06:36.671" v="7962" actId="1076"/>
          <ac:spMkLst>
            <pc:docMk/>
            <pc:sldMk cId="848436090" sldId="264"/>
            <ac:spMk id="22" creationId="{17C81B9B-26B9-C68B-06A4-0CDE6D4BB00F}"/>
          </ac:spMkLst>
        </pc:spChg>
        <pc:spChg chg="mod topLvl">
          <ac:chgData name="Vedang Poddar" userId="db7cd9a2-6584-4ffe-b5dc-9b2c028584de" providerId="ADAL" clId="{0AF36B87-8C6F-4169-9758-9DF6326E56DD}" dt="2025-08-31T19:24:48.632" v="8546" actId="208"/>
          <ac:spMkLst>
            <pc:docMk/>
            <pc:sldMk cId="848436090" sldId="264"/>
            <ac:spMk id="24" creationId="{26C5AA5C-CEE1-1FA1-F111-A58F780C527A}"/>
          </ac:spMkLst>
        </pc:spChg>
        <pc:spChg chg="mod">
          <ac:chgData name="Vedang Poddar" userId="db7cd9a2-6584-4ffe-b5dc-9b2c028584de" providerId="ADAL" clId="{0AF36B87-8C6F-4169-9758-9DF6326E56DD}" dt="2025-08-31T19:15:10.520" v="8443" actId="12788"/>
          <ac:spMkLst>
            <pc:docMk/>
            <pc:sldMk cId="848436090" sldId="264"/>
            <ac:spMk id="26" creationId="{953B60CB-838F-A53F-A380-A1B9E1D9C130}"/>
          </ac:spMkLst>
        </pc:spChg>
        <pc:spChg chg="mod">
          <ac:chgData name="Vedang Poddar" userId="db7cd9a2-6584-4ffe-b5dc-9b2c028584de" providerId="ADAL" clId="{0AF36B87-8C6F-4169-9758-9DF6326E56DD}" dt="2025-08-31T19:15:15.052" v="8446" actId="12788"/>
          <ac:spMkLst>
            <pc:docMk/>
            <pc:sldMk cId="848436090" sldId="264"/>
            <ac:spMk id="29" creationId="{AC12A68C-32B9-CD2C-CCBD-1DF2354CE1E6}"/>
          </ac:spMkLst>
        </pc:spChg>
        <pc:spChg chg="mod">
          <ac:chgData name="Vedang Poddar" userId="db7cd9a2-6584-4ffe-b5dc-9b2c028584de" providerId="ADAL" clId="{0AF36B87-8C6F-4169-9758-9DF6326E56DD}" dt="2025-08-31T19:02:17.212" v="7732" actId="1037"/>
          <ac:spMkLst>
            <pc:docMk/>
            <pc:sldMk cId="848436090" sldId="264"/>
            <ac:spMk id="30" creationId="{894C80F1-1703-E4CE-A97E-5572E3842B0E}"/>
          </ac:spMkLst>
        </pc:spChg>
        <pc:spChg chg="add del mod">
          <ac:chgData name="Vedang Poddar" userId="db7cd9a2-6584-4ffe-b5dc-9b2c028584de" providerId="ADAL" clId="{0AF36B87-8C6F-4169-9758-9DF6326E56DD}" dt="2025-08-31T19:14:43.717" v="8434" actId="122"/>
          <ac:spMkLst>
            <pc:docMk/>
            <pc:sldMk cId="848436090" sldId="264"/>
            <ac:spMk id="31" creationId="{71C43659-3C81-6F9E-F571-A28BB71583C7}"/>
          </ac:spMkLst>
        </pc:spChg>
        <pc:spChg chg="mod">
          <ac:chgData name="Vedang Poddar" userId="db7cd9a2-6584-4ffe-b5dc-9b2c028584de" providerId="ADAL" clId="{0AF36B87-8C6F-4169-9758-9DF6326E56DD}" dt="2025-08-31T19:15:44.284" v="8456" actId="114"/>
          <ac:spMkLst>
            <pc:docMk/>
            <pc:sldMk cId="848436090" sldId="264"/>
            <ac:spMk id="36" creationId="{340823E4-48E5-8555-5727-0601C6273634}"/>
          </ac:spMkLst>
        </pc:spChg>
        <pc:spChg chg="mod">
          <ac:chgData name="Vedang Poddar" userId="db7cd9a2-6584-4ffe-b5dc-9b2c028584de" providerId="ADAL" clId="{0AF36B87-8C6F-4169-9758-9DF6326E56DD}" dt="2025-08-31T19:24:45.509" v="8545" actId="165"/>
          <ac:spMkLst>
            <pc:docMk/>
            <pc:sldMk cId="848436090" sldId="264"/>
            <ac:spMk id="39" creationId="{23204A26-36A0-9501-3225-489B020026B7}"/>
          </ac:spMkLst>
        </pc:spChg>
        <pc:spChg chg="mod">
          <ac:chgData name="Vedang Poddar" userId="db7cd9a2-6584-4ffe-b5dc-9b2c028584de" providerId="ADAL" clId="{0AF36B87-8C6F-4169-9758-9DF6326E56DD}" dt="2025-08-31T19:24:22.430" v="8541" actId="1035"/>
          <ac:spMkLst>
            <pc:docMk/>
            <pc:sldMk cId="848436090" sldId="264"/>
            <ac:spMk id="40" creationId="{8A90F77E-0D77-7FE4-DEA6-7D454DA37722}"/>
          </ac:spMkLst>
        </pc:spChg>
        <pc:spChg chg="mod topLvl">
          <ac:chgData name="Vedang Poddar" userId="db7cd9a2-6584-4ffe-b5dc-9b2c028584de" providerId="ADAL" clId="{0AF36B87-8C6F-4169-9758-9DF6326E56DD}" dt="2025-08-31T16:21:29.229" v="5184" actId="20577"/>
          <ac:spMkLst>
            <pc:docMk/>
            <pc:sldMk cId="848436090" sldId="264"/>
            <ac:spMk id="41" creationId="{031B2545-37C2-76BD-DACE-EB435678E48C}"/>
          </ac:spMkLst>
        </pc:spChg>
        <pc:spChg chg="mod topLvl">
          <ac:chgData name="Vedang Poddar" userId="db7cd9a2-6584-4ffe-b5dc-9b2c028584de" providerId="ADAL" clId="{0AF36B87-8C6F-4169-9758-9DF6326E56DD}" dt="2025-08-31T16:22:11.123" v="5230" actId="20577"/>
          <ac:spMkLst>
            <pc:docMk/>
            <pc:sldMk cId="848436090" sldId="264"/>
            <ac:spMk id="42" creationId="{28396DE2-E6DB-9D56-2A3A-FEA5C560577C}"/>
          </ac:spMkLst>
        </pc:spChg>
        <pc:spChg chg="mod">
          <ac:chgData name="Vedang Poddar" userId="db7cd9a2-6584-4ffe-b5dc-9b2c028584de" providerId="ADAL" clId="{0AF36B87-8C6F-4169-9758-9DF6326E56DD}" dt="2025-08-31T19:24:45.509" v="8545" actId="165"/>
          <ac:spMkLst>
            <pc:docMk/>
            <pc:sldMk cId="848436090" sldId="264"/>
            <ac:spMk id="44" creationId="{0FC65CC8-9A00-E740-0958-881808D5E37D}"/>
          </ac:spMkLst>
        </pc:spChg>
        <pc:spChg chg="mod topLvl">
          <ac:chgData name="Vedang Poddar" userId="db7cd9a2-6584-4ffe-b5dc-9b2c028584de" providerId="ADAL" clId="{0AF36B87-8C6F-4169-9758-9DF6326E56DD}" dt="2025-08-31T16:17:16.440" v="5074" actId="165"/>
          <ac:spMkLst>
            <pc:docMk/>
            <pc:sldMk cId="848436090" sldId="264"/>
            <ac:spMk id="47" creationId="{720067AC-9166-6EBE-F764-19668BCA9AB7}"/>
          </ac:spMkLst>
        </pc:spChg>
        <pc:spChg chg="mod topLvl">
          <ac:chgData name="Vedang Poddar" userId="db7cd9a2-6584-4ffe-b5dc-9b2c028584de" providerId="ADAL" clId="{0AF36B87-8C6F-4169-9758-9DF6326E56DD}" dt="2025-08-31T16:17:16.440" v="5074" actId="165"/>
          <ac:spMkLst>
            <pc:docMk/>
            <pc:sldMk cId="848436090" sldId="264"/>
            <ac:spMk id="48" creationId="{07BD3F2F-85A9-89E8-03FB-E0F97E66B717}"/>
          </ac:spMkLst>
        </pc:spChg>
        <pc:spChg chg="mod topLvl">
          <ac:chgData name="Vedang Poddar" userId="db7cd9a2-6584-4ffe-b5dc-9b2c028584de" providerId="ADAL" clId="{0AF36B87-8C6F-4169-9758-9DF6326E56DD}" dt="2025-08-31T16:17:16.440" v="5074" actId="165"/>
          <ac:spMkLst>
            <pc:docMk/>
            <pc:sldMk cId="848436090" sldId="264"/>
            <ac:spMk id="49" creationId="{E1A4DCDF-26E8-A985-3844-FFC3FD1EE6CC}"/>
          </ac:spMkLst>
        </pc:spChg>
        <pc:spChg chg="mod topLvl">
          <ac:chgData name="Vedang Poddar" userId="db7cd9a2-6584-4ffe-b5dc-9b2c028584de" providerId="ADAL" clId="{0AF36B87-8C6F-4169-9758-9DF6326E56DD}" dt="2025-08-31T16:17:16.440" v="5074" actId="165"/>
          <ac:spMkLst>
            <pc:docMk/>
            <pc:sldMk cId="848436090" sldId="264"/>
            <ac:spMk id="50" creationId="{1AE73E96-FA43-0E10-2592-B457EDE1D4D1}"/>
          </ac:spMkLst>
        </pc:spChg>
        <pc:spChg chg="mod">
          <ac:chgData name="Vedang Poddar" userId="db7cd9a2-6584-4ffe-b5dc-9b2c028584de" providerId="ADAL" clId="{0AF36B87-8C6F-4169-9758-9DF6326E56DD}" dt="2025-08-31T19:02:17.212" v="7732" actId="1037"/>
          <ac:spMkLst>
            <pc:docMk/>
            <pc:sldMk cId="848436090" sldId="264"/>
            <ac:spMk id="52" creationId="{3D511D58-9428-22DE-216D-AD5FAF4FFF54}"/>
          </ac:spMkLst>
        </pc:spChg>
        <pc:spChg chg="mod topLvl">
          <ac:chgData name="Vedang Poddar" userId="db7cd9a2-6584-4ffe-b5dc-9b2c028584de" providerId="ADAL" clId="{0AF36B87-8C6F-4169-9758-9DF6326E56DD}" dt="2025-08-31T15:49:51.445" v="4539" actId="165"/>
          <ac:spMkLst>
            <pc:docMk/>
            <pc:sldMk cId="848436090" sldId="264"/>
            <ac:spMk id="59" creationId="{68BC98B3-B983-82CB-B2FF-9F787FEB33E0}"/>
          </ac:spMkLst>
        </pc:spChg>
        <pc:spChg chg="mod topLvl">
          <ac:chgData name="Vedang Poddar" userId="db7cd9a2-6584-4ffe-b5dc-9b2c028584de" providerId="ADAL" clId="{0AF36B87-8C6F-4169-9758-9DF6326E56DD}" dt="2025-08-31T19:02:17.212" v="7732" actId="1037"/>
          <ac:spMkLst>
            <pc:docMk/>
            <pc:sldMk cId="848436090" sldId="264"/>
            <ac:spMk id="60" creationId="{33D469E8-1CC9-4E71-C2D3-60F5F2299A04}"/>
          </ac:spMkLst>
        </pc:spChg>
        <pc:spChg chg="mod">
          <ac:chgData name="Vedang Poddar" userId="db7cd9a2-6584-4ffe-b5dc-9b2c028584de" providerId="ADAL" clId="{0AF36B87-8C6F-4169-9758-9DF6326E56DD}" dt="2025-08-31T19:02:17.212" v="7732" actId="1037"/>
          <ac:spMkLst>
            <pc:docMk/>
            <pc:sldMk cId="848436090" sldId="264"/>
            <ac:spMk id="64" creationId="{958F4496-00A7-494F-826E-7B00F062AFA8}"/>
          </ac:spMkLst>
        </pc:spChg>
        <pc:spChg chg="add mod">
          <ac:chgData name="Vedang Poddar" userId="db7cd9a2-6584-4ffe-b5dc-9b2c028584de" providerId="ADAL" clId="{0AF36B87-8C6F-4169-9758-9DF6326E56DD}" dt="2025-08-31T17:46:31.818" v="7396" actId="1035"/>
          <ac:spMkLst>
            <pc:docMk/>
            <pc:sldMk cId="848436090" sldId="264"/>
            <ac:spMk id="70" creationId="{0F8D92F5-5D5B-1E88-E7FB-3F67BB6E70ED}"/>
          </ac:spMkLst>
        </pc:spChg>
        <pc:spChg chg="add mod">
          <ac:chgData name="Vedang Poddar" userId="db7cd9a2-6584-4ffe-b5dc-9b2c028584de" providerId="ADAL" clId="{0AF36B87-8C6F-4169-9758-9DF6326E56DD}" dt="2025-08-31T17:46:31.818" v="7396" actId="1035"/>
          <ac:spMkLst>
            <pc:docMk/>
            <pc:sldMk cId="848436090" sldId="264"/>
            <ac:spMk id="71" creationId="{C9095B85-723F-FD9D-FDA2-BD17589C44D3}"/>
          </ac:spMkLst>
        </pc:spChg>
        <pc:spChg chg="mod topLvl">
          <ac:chgData name="Vedang Poddar" userId="db7cd9a2-6584-4ffe-b5dc-9b2c028584de" providerId="ADAL" clId="{0AF36B87-8C6F-4169-9758-9DF6326E56DD}" dt="2025-08-31T15:49:51.445" v="4539" actId="165"/>
          <ac:spMkLst>
            <pc:docMk/>
            <pc:sldMk cId="848436090" sldId="264"/>
            <ac:spMk id="73" creationId="{C5ED0307-398F-C98D-1615-407D4B85774E}"/>
          </ac:spMkLst>
        </pc:spChg>
        <pc:spChg chg="mod topLvl">
          <ac:chgData name="Vedang Poddar" userId="db7cd9a2-6584-4ffe-b5dc-9b2c028584de" providerId="ADAL" clId="{0AF36B87-8C6F-4169-9758-9DF6326E56DD}" dt="2025-08-31T19:02:17.212" v="7732" actId="1037"/>
          <ac:spMkLst>
            <pc:docMk/>
            <pc:sldMk cId="848436090" sldId="264"/>
            <ac:spMk id="74" creationId="{C4899CDD-F578-C4B0-B4A9-18EB46FFB89A}"/>
          </ac:spMkLst>
        </pc:spChg>
        <pc:spChg chg="mod topLvl">
          <ac:chgData name="Vedang Poddar" userId="db7cd9a2-6584-4ffe-b5dc-9b2c028584de" providerId="ADAL" clId="{0AF36B87-8C6F-4169-9758-9DF6326E56DD}" dt="2025-08-31T15:49:51.445" v="4539" actId="165"/>
          <ac:spMkLst>
            <pc:docMk/>
            <pc:sldMk cId="848436090" sldId="264"/>
            <ac:spMk id="76" creationId="{5CD3ADEB-8ECD-2A25-E165-A81D35676B61}"/>
          </ac:spMkLst>
        </pc:spChg>
        <pc:spChg chg="mod topLvl">
          <ac:chgData name="Vedang Poddar" userId="db7cd9a2-6584-4ffe-b5dc-9b2c028584de" providerId="ADAL" clId="{0AF36B87-8C6F-4169-9758-9DF6326E56DD}" dt="2025-08-31T15:50:27.189" v="4547" actId="2085"/>
          <ac:spMkLst>
            <pc:docMk/>
            <pc:sldMk cId="848436090" sldId="264"/>
            <ac:spMk id="77" creationId="{D3C0C0C6-7DB2-9E95-8B1F-8C016C75194D}"/>
          </ac:spMkLst>
        </pc:spChg>
        <pc:spChg chg="mod topLvl">
          <ac:chgData name="Vedang Poddar" userId="db7cd9a2-6584-4ffe-b5dc-9b2c028584de" providerId="ADAL" clId="{0AF36B87-8C6F-4169-9758-9DF6326E56DD}" dt="2025-08-31T19:02:17.212" v="7732" actId="1037"/>
          <ac:spMkLst>
            <pc:docMk/>
            <pc:sldMk cId="848436090" sldId="264"/>
            <ac:spMk id="78" creationId="{56B7A4E2-01F4-F748-F02A-A72229AA87D9}"/>
          </ac:spMkLst>
        </pc:spChg>
        <pc:spChg chg="mod topLvl">
          <ac:chgData name="Vedang Poddar" userId="db7cd9a2-6584-4ffe-b5dc-9b2c028584de" providerId="ADAL" clId="{0AF36B87-8C6F-4169-9758-9DF6326E56DD}" dt="2025-08-31T19:02:17.212" v="7732" actId="1037"/>
          <ac:spMkLst>
            <pc:docMk/>
            <pc:sldMk cId="848436090" sldId="264"/>
            <ac:spMk id="79" creationId="{AF792A8F-2297-7055-304B-7A228378BC25}"/>
          </ac:spMkLst>
        </pc:spChg>
        <pc:spChg chg="add mod">
          <ac:chgData name="Vedang Poddar" userId="db7cd9a2-6584-4ffe-b5dc-9b2c028584de" providerId="ADAL" clId="{0AF36B87-8C6F-4169-9758-9DF6326E56DD}" dt="2025-08-31T19:04:39.668" v="7918" actId="14100"/>
          <ac:spMkLst>
            <pc:docMk/>
            <pc:sldMk cId="848436090" sldId="264"/>
            <ac:spMk id="81" creationId="{8B78F1C4-D375-FBE9-F9DB-8D68F7F8541D}"/>
          </ac:spMkLst>
        </pc:spChg>
        <pc:spChg chg="add mod">
          <ac:chgData name="Vedang Poddar" userId="db7cd9a2-6584-4ffe-b5dc-9b2c028584de" providerId="ADAL" clId="{0AF36B87-8C6F-4169-9758-9DF6326E56DD}" dt="2025-08-31T16:41:51.552" v="6101" actId="114"/>
          <ac:spMkLst>
            <pc:docMk/>
            <pc:sldMk cId="848436090" sldId="264"/>
            <ac:spMk id="82" creationId="{55A94CE7-D762-6625-F691-F670D783D22C}"/>
          </ac:spMkLst>
        </pc:spChg>
        <pc:spChg chg="mod">
          <ac:chgData name="Vedang Poddar" userId="db7cd9a2-6584-4ffe-b5dc-9b2c028584de" providerId="ADAL" clId="{0AF36B87-8C6F-4169-9758-9DF6326E56DD}" dt="2025-08-31T19:02:17.212" v="7732" actId="1037"/>
          <ac:spMkLst>
            <pc:docMk/>
            <pc:sldMk cId="848436090" sldId="264"/>
            <ac:spMk id="104" creationId="{44C5ACC1-DFFB-D008-3BB7-C78602E33ED1}"/>
          </ac:spMkLst>
        </pc:spChg>
        <pc:spChg chg="add mod">
          <ac:chgData name="Vedang Poddar" userId="db7cd9a2-6584-4ffe-b5dc-9b2c028584de" providerId="ADAL" clId="{0AF36B87-8C6F-4169-9758-9DF6326E56DD}" dt="2025-08-31T19:15:15.052" v="8446" actId="12788"/>
          <ac:spMkLst>
            <pc:docMk/>
            <pc:sldMk cId="848436090" sldId="264"/>
            <ac:spMk id="119" creationId="{E88748FF-97DC-3A69-49D6-2237991D091E}"/>
          </ac:spMkLst>
        </pc:spChg>
        <pc:spChg chg="add mod">
          <ac:chgData name="Vedang Poddar" userId="db7cd9a2-6584-4ffe-b5dc-9b2c028584de" providerId="ADAL" clId="{0AF36B87-8C6F-4169-9758-9DF6326E56DD}" dt="2025-08-31T16:17:19.598" v="5075" actId="165"/>
          <ac:spMkLst>
            <pc:docMk/>
            <pc:sldMk cId="848436090" sldId="264"/>
            <ac:spMk id="120" creationId="{C76106F8-B393-39E5-D83C-27BE3CC0C80E}"/>
          </ac:spMkLst>
        </pc:spChg>
        <pc:spChg chg="add mod">
          <ac:chgData name="Vedang Poddar" userId="db7cd9a2-6584-4ffe-b5dc-9b2c028584de" providerId="ADAL" clId="{0AF36B87-8C6F-4169-9758-9DF6326E56DD}" dt="2025-08-31T16:17:19.598" v="5075" actId="165"/>
          <ac:spMkLst>
            <pc:docMk/>
            <pc:sldMk cId="848436090" sldId="264"/>
            <ac:spMk id="121" creationId="{4A79884D-D9F2-3D6B-A988-DBB1529B8041}"/>
          </ac:spMkLst>
        </pc:spChg>
        <pc:grpChg chg="mod topLvl">
          <ac:chgData name="Vedang Poddar" userId="db7cd9a2-6584-4ffe-b5dc-9b2c028584de" providerId="ADAL" clId="{0AF36B87-8C6F-4169-9758-9DF6326E56DD}" dt="2025-08-31T19:24:45.509" v="8545" actId="165"/>
          <ac:grpSpMkLst>
            <pc:docMk/>
            <pc:sldMk cId="848436090" sldId="264"/>
            <ac:grpSpMk id="38" creationId="{E007971D-14A6-B402-13F9-65C972AE55B9}"/>
          </ac:grpSpMkLst>
        </pc:grpChg>
        <pc:grpChg chg="add mod topLvl">
          <ac:chgData name="Vedang Poddar" userId="db7cd9a2-6584-4ffe-b5dc-9b2c028584de" providerId="ADAL" clId="{0AF36B87-8C6F-4169-9758-9DF6326E56DD}" dt="2025-08-31T16:17:47.281" v="5080" actId="1076"/>
          <ac:grpSpMkLst>
            <pc:docMk/>
            <pc:sldMk cId="848436090" sldId="264"/>
            <ac:grpSpMk id="122" creationId="{58CF3E34-D320-A44D-6DA1-6101C117EEFE}"/>
          </ac:grpSpMkLst>
        </pc:grpChg>
        <pc:grpChg chg="add mod">
          <ac:chgData name="Vedang Poddar" userId="db7cd9a2-6584-4ffe-b5dc-9b2c028584de" providerId="ADAL" clId="{0AF36B87-8C6F-4169-9758-9DF6326E56DD}" dt="2025-08-31T16:17:51.861" v="5081" actId="408"/>
          <ac:grpSpMkLst>
            <pc:docMk/>
            <pc:sldMk cId="848436090" sldId="264"/>
            <ac:grpSpMk id="124" creationId="{6248C50C-B963-ACDE-2C7F-AE5C398BC17D}"/>
          </ac:grpSpMkLst>
        </pc:grpChg>
        <pc:grpChg chg="add del mod">
          <ac:chgData name="Vedang Poddar" userId="db7cd9a2-6584-4ffe-b5dc-9b2c028584de" providerId="ADAL" clId="{0AF36B87-8C6F-4169-9758-9DF6326E56DD}" dt="2025-08-31T16:17:31.307" v="5077" actId="1076"/>
          <ac:grpSpMkLst>
            <pc:docMk/>
            <pc:sldMk cId="848436090" sldId="264"/>
            <ac:grpSpMk id="125" creationId="{EC627395-6F28-8D70-31D1-E5612940D458}"/>
          </ac:grpSpMkLst>
        </pc:grpChg>
        <pc:grpChg chg="add mod">
          <ac:chgData name="Vedang Poddar" userId="db7cd9a2-6584-4ffe-b5dc-9b2c028584de" providerId="ADAL" clId="{0AF36B87-8C6F-4169-9758-9DF6326E56DD}" dt="2025-08-31T16:17:51.861" v="5081" actId="408"/>
          <ac:grpSpMkLst>
            <pc:docMk/>
            <pc:sldMk cId="848436090" sldId="264"/>
            <ac:grpSpMk id="126" creationId="{BEF6FF7A-5BF4-FF81-BD50-F324A7A7BB85}"/>
          </ac:grpSpMkLst>
        </pc:grpChg>
        <pc:picChg chg="add mod">
          <ac:chgData name="Vedang Poddar" userId="db7cd9a2-6584-4ffe-b5dc-9b2c028584de" providerId="ADAL" clId="{0AF36B87-8C6F-4169-9758-9DF6326E56DD}" dt="2025-08-31T19:04:26.165" v="7899" actId="1036"/>
          <ac:picMkLst>
            <pc:docMk/>
            <pc:sldMk cId="848436090" sldId="264"/>
            <ac:picMk id="15" creationId="{991C5A4B-4363-3521-639E-DAC86C437619}"/>
          </ac:picMkLst>
        </pc:picChg>
        <pc:picChg chg="add mod">
          <ac:chgData name="Vedang Poddar" userId="db7cd9a2-6584-4ffe-b5dc-9b2c028584de" providerId="ADAL" clId="{0AF36B87-8C6F-4169-9758-9DF6326E56DD}" dt="2025-08-31T19:04:26.165" v="7899" actId="1036"/>
          <ac:picMkLst>
            <pc:docMk/>
            <pc:sldMk cId="848436090" sldId="264"/>
            <ac:picMk id="17" creationId="{703325D2-795A-147C-B41A-0341F443960B}"/>
          </ac:picMkLst>
        </pc:picChg>
        <pc:picChg chg="add mod">
          <ac:chgData name="Vedang Poddar" userId="db7cd9a2-6584-4ffe-b5dc-9b2c028584de" providerId="ADAL" clId="{0AF36B87-8C6F-4169-9758-9DF6326E56DD}" dt="2025-08-31T19:02:20.708" v="7736" actId="1038"/>
          <ac:picMkLst>
            <pc:docMk/>
            <pc:sldMk cId="848436090" sldId="264"/>
            <ac:picMk id="19" creationId="{0D5572F8-C566-59F5-502C-FCD8C13B9248}"/>
          </ac:picMkLst>
        </pc:picChg>
        <pc:picChg chg="mod topLvl">
          <ac:chgData name="Vedang Poddar" userId="db7cd9a2-6584-4ffe-b5dc-9b2c028584de" providerId="ADAL" clId="{0AF36B87-8C6F-4169-9758-9DF6326E56DD}" dt="2025-08-31T19:24:45.509" v="8545" actId="165"/>
          <ac:picMkLst>
            <pc:docMk/>
            <pc:sldMk cId="848436090" sldId="264"/>
            <ac:picMk id="25" creationId="{C926A05C-A1DE-18E1-6CA5-887BDB7C182A}"/>
          </ac:picMkLst>
        </pc:picChg>
        <pc:picChg chg="mod topLvl">
          <ac:chgData name="Vedang Poddar" userId="db7cd9a2-6584-4ffe-b5dc-9b2c028584de" providerId="ADAL" clId="{0AF36B87-8C6F-4169-9758-9DF6326E56DD}" dt="2025-08-31T19:24:45.509" v="8545" actId="165"/>
          <ac:picMkLst>
            <pc:docMk/>
            <pc:sldMk cId="848436090" sldId="264"/>
            <ac:picMk id="27" creationId="{1BC49BCD-1801-5698-C589-6ED07BB139ED}"/>
          </ac:picMkLst>
        </pc:picChg>
        <pc:picChg chg="mod topLvl">
          <ac:chgData name="Vedang Poddar" userId="db7cd9a2-6584-4ffe-b5dc-9b2c028584de" providerId="ADAL" clId="{0AF36B87-8C6F-4169-9758-9DF6326E56DD}" dt="2025-08-31T19:24:45.509" v="8545" actId="165"/>
          <ac:picMkLst>
            <pc:docMk/>
            <pc:sldMk cId="848436090" sldId="264"/>
            <ac:picMk id="28" creationId="{67D6E408-43ED-0A90-0B73-32EE15EB9963}"/>
          </ac:picMkLst>
        </pc:picChg>
        <pc:picChg chg="mod topLvl">
          <ac:chgData name="Vedang Poddar" userId="db7cd9a2-6584-4ffe-b5dc-9b2c028584de" providerId="ADAL" clId="{0AF36B87-8C6F-4169-9758-9DF6326E56DD}" dt="2025-08-31T19:24:45.509" v="8545" actId="165"/>
          <ac:picMkLst>
            <pc:docMk/>
            <pc:sldMk cId="848436090" sldId="264"/>
            <ac:picMk id="32" creationId="{B47E79F7-8065-95D7-5590-3A7FCF8C8448}"/>
          </ac:picMkLst>
        </pc:picChg>
        <pc:picChg chg="mod topLvl">
          <ac:chgData name="Vedang Poddar" userId="db7cd9a2-6584-4ffe-b5dc-9b2c028584de" providerId="ADAL" clId="{0AF36B87-8C6F-4169-9758-9DF6326E56DD}" dt="2025-08-31T19:24:45.509" v="8545" actId="165"/>
          <ac:picMkLst>
            <pc:docMk/>
            <pc:sldMk cId="848436090" sldId="264"/>
            <ac:picMk id="34" creationId="{F906D211-D7F3-A8CA-7994-EAF03FFD048C}"/>
          </ac:picMkLst>
        </pc:picChg>
        <pc:picChg chg="add mod">
          <ac:chgData name="Vedang Poddar" userId="db7cd9a2-6584-4ffe-b5dc-9b2c028584de" providerId="ADAL" clId="{0AF36B87-8C6F-4169-9758-9DF6326E56DD}" dt="2025-08-30T19:57:37.477" v="671" actId="14100"/>
          <ac:picMkLst>
            <pc:docMk/>
            <pc:sldMk cId="848436090" sldId="264"/>
            <ac:picMk id="35" creationId="{B620D198-B75A-397D-CC30-598FD782C678}"/>
          </ac:picMkLst>
        </pc:picChg>
        <pc:picChg chg="mod">
          <ac:chgData name="Vedang Poddar" userId="db7cd9a2-6584-4ffe-b5dc-9b2c028584de" providerId="ADAL" clId="{0AF36B87-8C6F-4169-9758-9DF6326E56DD}" dt="2025-08-31T19:15:54.693" v="8468" actId="1035"/>
          <ac:picMkLst>
            <pc:docMk/>
            <pc:sldMk cId="848436090" sldId="264"/>
            <ac:picMk id="51" creationId="{9E2CA809-1A1D-C3B8-8F36-5AF23C44D2A2}"/>
          </ac:picMkLst>
        </pc:picChg>
        <pc:picChg chg="add mod">
          <ac:chgData name="Vedang Poddar" userId="db7cd9a2-6584-4ffe-b5dc-9b2c028584de" providerId="ADAL" clId="{0AF36B87-8C6F-4169-9758-9DF6326E56DD}" dt="2025-08-31T16:30:50.109" v="5425" actId="1076"/>
          <ac:picMkLst>
            <pc:docMk/>
            <pc:sldMk cId="848436090" sldId="264"/>
            <ac:picMk id="55" creationId="{5A3310BD-7551-5D58-85DA-A75CDABB4536}"/>
          </ac:picMkLst>
        </pc:picChg>
        <pc:picChg chg="add mod ord">
          <ac:chgData name="Vedang Poddar" userId="db7cd9a2-6584-4ffe-b5dc-9b2c028584de" providerId="ADAL" clId="{0AF36B87-8C6F-4169-9758-9DF6326E56DD}" dt="2025-08-31T19:25:01.626" v="8548" actId="14100"/>
          <ac:picMkLst>
            <pc:docMk/>
            <pc:sldMk cId="848436090" sldId="264"/>
            <ac:picMk id="56" creationId="{B9E2FF99-9104-3E95-2D19-5FAFAEBFD3C6}"/>
          </ac:picMkLst>
        </pc:picChg>
        <pc:picChg chg="add mod topLvl">
          <ac:chgData name="Vedang Poddar" userId="db7cd9a2-6584-4ffe-b5dc-9b2c028584de" providerId="ADAL" clId="{0AF36B87-8C6F-4169-9758-9DF6326E56DD}" dt="2025-08-31T19:24:44.110" v="8544" actId="165"/>
          <ac:picMkLst>
            <pc:docMk/>
            <pc:sldMk cId="848436090" sldId="264"/>
            <ac:picMk id="65" creationId="{CC7C1E6F-755A-4E17-0CFD-41431277866D}"/>
          </ac:picMkLst>
        </pc:picChg>
        <pc:picChg chg="mod">
          <ac:chgData name="Vedang Poddar" userId="db7cd9a2-6584-4ffe-b5dc-9b2c028584de" providerId="ADAL" clId="{0AF36B87-8C6F-4169-9758-9DF6326E56DD}" dt="2025-08-31T19:02:29.662" v="7741" actId="1037"/>
          <ac:picMkLst>
            <pc:docMk/>
            <pc:sldMk cId="848436090" sldId="264"/>
            <ac:picMk id="84" creationId="{EE1D843F-0193-441A-BEEE-82D05F649AA9}"/>
          </ac:picMkLst>
        </pc:picChg>
        <pc:picChg chg="add mod">
          <ac:chgData name="Vedang Poddar" userId="db7cd9a2-6584-4ffe-b5dc-9b2c028584de" providerId="ADAL" clId="{0AF36B87-8C6F-4169-9758-9DF6326E56DD}" dt="2025-08-31T16:40:22.607" v="6017" actId="1076"/>
          <ac:picMkLst>
            <pc:docMk/>
            <pc:sldMk cId="848436090" sldId="264"/>
            <ac:picMk id="85" creationId="{F1DAE011-9233-1E24-BB37-375E95A576A3}"/>
          </ac:picMkLst>
        </pc:picChg>
        <pc:picChg chg="mod">
          <ac:chgData name="Vedang Poddar" userId="db7cd9a2-6584-4ffe-b5dc-9b2c028584de" providerId="ADAL" clId="{0AF36B87-8C6F-4169-9758-9DF6326E56DD}" dt="2025-08-31T16:28:45.819" v="5407" actId="1076"/>
          <ac:picMkLst>
            <pc:docMk/>
            <pc:sldMk cId="848436090" sldId="264"/>
            <ac:picMk id="97" creationId="{A8456AD0-B78B-2219-6E44-61116B645D10}"/>
          </ac:picMkLst>
        </pc:picChg>
        <pc:picChg chg="add mod">
          <ac:chgData name="Vedang Poddar" userId="db7cd9a2-6584-4ffe-b5dc-9b2c028584de" providerId="ADAL" clId="{0AF36B87-8C6F-4169-9758-9DF6326E56DD}" dt="2025-08-31T17:46:06.215" v="7382" actId="1036"/>
          <ac:picMkLst>
            <pc:docMk/>
            <pc:sldMk cId="848436090" sldId="264"/>
            <ac:picMk id="102" creationId="{559204F3-75E8-2137-3046-113208D02C44}"/>
          </ac:picMkLst>
        </pc:picChg>
        <pc:picChg chg="add mod">
          <ac:chgData name="Vedang Poddar" userId="db7cd9a2-6584-4ffe-b5dc-9b2c028584de" providerId="ADAL" clId="{0AF36B87-8C6F-4169-9758-9DF6326E56DD}" dt="2025-08-31T17:46:31.818" v="7396" actId="1035"/>
          <ac:picMkLst>
            <pc:docMk/>
            <pc:sldMk cId="848436090" sldId="264"/>
            <ac:picMk id="106" creationId="{CB54CCE9-3488-2867-6266-B89609C10A3F}"/>
          </ac:picMkLst>
        </pc:picChg>
        <pc:picChg chg="add mod">
          <ac:chgData name="Vedang Poddar" userId="db7cd9a2-6584-4ffe-b5dc-9b2c028584de" providerId="ADAL" clId="{0AF36B87-8C6F-4169-9758-9DF6326E56DD}" dt="2025-08-31T17:46:31.818" v="7396" actId="1035"/>
          <ac:picMkLst>
            <pc:docMk/>
            <pc:sldMk cId="848436090" sldId="264"/>
            <ac:picMk id="116" creationId="{6706070A-7BB0-A6C7-19AE-6171F2496AD8}"/>
          </ac:picMkLst>
        </pc:picChg>
        <pc:cxnChg chg="mod">
          <ac:chgData name="Vedang Poddar" userId="db7cd9a2-6584-4ffe-b5dc-9b2c028584de" providerId="ADAL" clId="{0AF36B87-8C6F-4169-9758-9DF6326E56DD}" dt="2025-08-31T19:02:25.401" v="7739" actId="1038"/>
          <ac:cxnSpMkLst>
            <pc:docMk/>
            <pc:sldMk cId="848436090" sldId="264"/>
            <ac:cxnSpMk id="23" creationId="{3DE7BEB3-B443-052A-B559-9675D5F073A4}"/>
          </ac:cxnSpMkLst>
        </pc:cxnChg>
        <pc:cxnChg chg="add mod">
          <ac:chgData name="Vedang Poddar" userId="db7cd9a2-6584-4ffe-b5dc-9b2c028584de" providerId="ADAL" clId="{0AF36B87-8C6F-4169-9758-9DF6326E56DD}" dt="2025-08-31T19:06:11.242" v="7959" actId="14100"/>
          <ac:cxnSpMkLst>
            <pc:docMk/>
            <pc:sldMk cId="848436090" sldId="264"/>
            <ac:cxnSpMk id="37" creationId="{36951C70-FC4C-CB21-996D-33628AFD0054}"/>
          </ac:cxnSpMkLst>
        </pc:cxnChg>
        <pc:cxnChg chg="add mod">
          <ac:chgData name="Vedang Poddar" userId="db7cd9a2-6584-4ffe-b5dc-9b2c028584de" providerId="ADAL" clId="{0AF36B87-8C6F-4169-9758-9DF6326E56DD}" dt="2025-08-31T19:06:18.052" v="7960" actId="571"/>
          <ac:cxnSpMkLst>
            <pc:docMk/>
            <pc:sldMk cId="848436090" sldId="264"/>
            <ac:cxnSpMk id="46" creationId="{F54A6325-F924-9CF3-4652-356273E3BEFD}"/>
          </ac:cxnSpMkLst>
        </pc:cxnChg>
        <pc:cxnChg chg="add mod">
          <ac:chgData name="Vedang Poddar" userId="db7cd9a2-6584-4ffe-b5dc-9b2c028584de" providerId="ADAL" clId="{0AF36B87-8C6F-4169-9758-9DF6326E56DD}" dt="2025-08-31T17:46:06.215" v="7382" actId="1036"/>
          <ac:cxnSpMkLst>
            <pc:docMk/>
            <pc:sldMk cId="848436090" sldId="264"/>
            <ac:cxnSpMk id="53" creationId="{669E18C9-C4A1-84B4-033E-FE92B13F5FC1}"/>
          </ac:cxnSpMkLst>
        </pc:cxnChg>
      </pc:sldChg>
      <pc:sldChg chg="addSp modSp mod">
        <pc:chgData name="Vedang Poddar" userId="db7cd9a2-6584-4ffe-b5dc-9b2c028584de" providerId="ADAL" clId="{0AF36B87-8C6F-4169-9758-9DF6326E56DD}" dt="2025-08-31T09:01:35.816" v="1258" actId="1076"/>
        <pc:sldMkLst>
          <pc:docMk/>
          <pc:sldMk cId="2451315773" sldId="266"/>
        </pc:sldMkLst>
      </pc:sldChg>
      <pc:sldChg chg="addSp modSp mod">
        <pc:chgData name="Vedang Poddar" userId="db7cd9a2-6584-4ffe-b5dc-9b2c028584de" providerId="ADAL" clId="{0AF36B87-8C6F-4169-9758-9DF6326E56DD}" dt="2025-09-10T20:34:36.754" v="10807" actId="1076"/>
        <pc:sldMkLst>
          <pc:docMk/>
          <pc:sldMk cId="256415640" sldId="2147473057"/>
        </pc:sldMkLst>
        <pc:spChg chg="mod">
          <ac:chgData name="Vedang Poddar" userId="db7cd9a2-6584-4ffe-b5dc-9b2c028584de" providerId="ADAL" clId="{0AF36B87-8C6F-4169-9758-9DF6326E56DD}" dt="2025-08-31T22:16:14.758" v="10796" actId="2"/>
          <ac:spMkLst>
            <pc:docMk/>
            <pc:sldMk cId="256415640" sldId="2147473057"/>
            <ac:spMk id="10" creationId="{35211C58-63DF-77B6-4DF4-42F99B8945F2}"/>
          </ac:spMkLst>
        </pc:spChg>
        <pc:spChg chg="mod">
          <ac:chgData name="Vedang Poddar" userId="db7cd9a2-6584-4ffe-b5dc-9b2c028584de" providerId="ADAL" clId="{0AF36B87-8C6F-4169-9758-9DF6326E56DD}" dt="2025-08-31T22:16:15.707" v="10797" actId="2"/>
          <ac:spMkLst>
            <pc:docMk/>
            <pc:sldMk cId="256415640" sldId="2147473057"/>
            <ac:spMk id="14" creationId="{908D5BDA-8D84-FE6D-59EC-1FDD413328AC}"/>
          </ac:spMkLst>
        </pc:spChg>
        <pc:spChg chg="mod">
          <ac:chgData name="Vedang Poddar" userId="db7cd9a2-6584-4ffe-b5dc-9b2c028584de" providerId="ADAL" clId="{0AF36B87-8C6F-4169-9758-9DF6326E56DD}" dt="2025-08-31T16:40:50.812" v="6021" actId="164"/>
          <ac:spMkLst>
            <pc:docMk/>
            <pc:sldMk cId="256415640" sldId="2147473057"/>
            <ac:spMk id="26" creationId="{426C761F-B579-84CA-8B16-2236DC8DA594}"/>
          </ac:spMkLst>
        </pc:spChg>
        <pc:grpChg chg="add mod">
          <ac:chgData name="Vedang Poddar" userId="db7cd9a2-6584-4ffe-b5dc-9b2c028584de" providerId="ADAL" clId="{0AF36B87-8C6F-4169-9758-9DF6326E56DD}" dt="2025-08-31T16:40:50.812" v="6021" actId="164"/>
          <ac:grpSpMkLst>
            <pc:docMk/>
            <pc:sldMk cId="256415640" sldId="2147473057"/>
            <ac:grpSpMk id="2" creationId="{382EF3A5-B50E-BF54-89AA-ABB002F348B1}"/>
          </ac:grpSpMkLst>
        </pc:grpChg>
        <pc:picChg chg="mod">
          <ac:chgData name="Vedang Poddar" userId="db7cd9a2-6584-4ffe-b5dc-9b2c028584de" providerId="ADAL" clId="{0AF36B87-8C6F-4169-9758-9DF6326E56DD}" dt="2025-09-10T20:34:34.529" v="10805" actId="1076"/>
          <ac:picMkLst>
            <pc:docMk/>
            <pc:sldMk cId="256415640" sldId="2147473057"/>
            <ac:picMk id="5" creationId="{52DD48B3-A053-9D34-A7BA-519B0B6ED45B}"/>
          </ac:picMkLst>
        </pc:picChg>
        <pc:picChg chg="mod">
          <ac:chgData name="Vedang Poddar" userId="db7cd9a2-6584-4ffe-b5dc-9b2c028584de" providerId="ADAL" clId="{0AF36B87-8C6F-4169-9758-9DF6326E56DD}" dt="2025-09-10T20:34:36.754" v="10807" actId="1076"/>
          <ac:picMkLst>
            <pc:docMk/>
            <pc:sldMk cId="256415640" sldId="2147473057"/>
            <ac:picMk id="13" creationId="{2C897F10-1D58-C0EC-1253-422921F43702}"/>
          </ac:picMkLst>
        </pc:picChg>
        <pc:picChg chg="mod">
          <ac:chgData name="Vedang Poddar" userId="db7cd9a2-6584-4ffe-b5dc-9b2c028584de" providerId="ADAL" clId="{0AF36B87-8C6F-4169-9758-9DF6326E56DD}" dt="2025-09-10T20:34:34.529" v="10805" actId="1076"/>
          <ac:picMkLst>
            <pc:docMk/>
            <pc:sldMk cId="256415640" sldId="2147473057"/>
            <ac:picMk id="15" creationId="{8DF268B6-C428-EF7D-BC90-77E0B121BB6D}"/>
          </ac:picMkLst>
        </pc:picChg>
        <pc:cxnChg chg="mod">
          <ac:chgData name="Vedang Poddar" userId="db7cd9a2-6584-4ffe-b5dc-9b2c028584de" providerId="ADAL" clId="{0AF36B87-8C6F-4169-9758-9DF6326E56DD}" dt="2025-08-31T16:40:50.812" v="6021" actId="164"/>
          <ac:cxnSpMkLst>
            <pc:docMk/>
            <pc:sldMk cId="256415640" sldId="2147473057"/>
            <ac:cxnSpMk id="27" creationId="{C9B29BFC-950F-CE33-DF31-DCC94297E776}"/>
          </ac:cxnSpMkLst>
        </pc:cxnChg>
      </pc:sldChg>
      <pc:sldChg chg="addSp delSp modSp mod">
        <pc:chgData name="Vedang Poddar" userId="db7cd9a2-6584-4ffe-b5dc-9b2c028584de" providerId="ADAL" clId="{0AF36B87-8C6F-4169-9758-9DF6326E56DD}" dt="2025-08-31T22:15:53.090" v="10792" actId="313"/>
        <pc:sldMkLst>
          <pc:docMk/>
          <pc:sldMk cId="1492403551" sldId="2147473058"/>
        </pc:sldMkLst>
        <pc:spChg chg="mod">
          <ac:chgData name="Vedang Poddar" userId="db7cd9a2-6584-4ffe-b5dc-9b2c028584de" providerId="ADAL" clId="{0AF36B87-8C6F-4169-9758-9DF6326E56DD}" dt="2025-08-31T19:26:29.828" v="8549" actId="20577"/>
          <ac:spMkLst>
            <pc:docMk/>
            <pc:sldMk cId="1492403551" sldId="2147473058"/>
            <ac:spMk id="3" creationId="{78A295DC-4CF1-4DBD-185A-8F0F9C85832E}"/>
          </ac:spMkLst>
        </pc:spChg>
        <pc:spChg chg="mod">
          <ac:chgData name="Vedang Poddar" userId="db7cd9a2-6584-4ffe-b5dc-9b2c028584de" providerId="ADAL" clId="{0AF36B87-8C6F-4169-9758-9DF6326E56DD}" dt="2025-08-31T18:54:11.041" v="7618"/>
          <ac:spMkLst>
            <pc:docMk/>
            <pc:sldMk cId="1492403551" sldId="2147473058"/>
            <ac:spMk id="11" creationId="{577DD829-0164-C03F-9AE3-04701190BDF8}"/>
          </ac:spMkLst>
        </pc:spChg>
        <pc:spChg chg="mod">
          <ac:chgData name="Vedang Poddar" userId="db7cd9a2-6584-4ffe-b5dc-9b2c028584de" providerId="ADAL" clId="{0AF36B87-8C6F-4169-9758-9DF6326E56DD}" dt="2025-08-31T18:50:17.723" v="7566" actId="20577"/>
          <ac:spMkLst>
            <pc:docMk/>
            <pc:sldMk cId="1492403551" sldId="2147473058"/>
            <ac:spMk id="12" creationId="{B864556C-4BB0-04C1-047E-B23F7CA08C6D}"/>
          </ac:spMkLst>
        </pc:spChg>
        <pc:spChg chg="mod">
          <ac:chgData name="Vedang Poddar" userId="db7cd9a2-6584-4ffe-b5dc-9b2c028584de" providerId="ADAL" clId="{0AF36B87-8C6F-4169-9758-9DF6326E56DD}" dt="2025-08-31T19:26:52.874" v="8556" actId="20577"/>
          <ac:spMkLst>
            <pc:docMk/>
            <pc:sldMk cId="1492403551" sldId="2147473058"/>
            <ac:spMk id="18" creationId="{2F917294-989F-BBF0-F1AA-6D43B54E4959}"/>
          </ac:spMkLst>
        </pc:spChg>
        <pc:spChg chg="add del">
          <ac:chgData name="Vedang Poddar" userId="db7cd9a2-6584-4ffe-b5dc-9b2c028584de" providerId="ADAL" clId="{0AF36B87-8C6F-4169-9758-9DF6326E56DD}" dt="2025-08-31T19:20:19.951" v="8519" actId="21"/>
          <ac:spMkLst>
            <pc:docMk/>
            <pc:sldMk cId="1492403551" sldId="2147473058"/>
            <ac:spMk id="21" creationId="{AF308D1D-0ED2-4A9B-159A-0D020F280732}"/>
          </ac:spMkLst>
        </pc:spChg>
        <pc:spChg chg="mod">
          <ac:chgData name="Vedang Poddar" userId="db7cd9a2-6584-4ffe-b5dc-9b2c028584de" providerId="ADAL" clId="{0AF36B87-8C6F-4169-9758-9DF6326E56DD}" dt="2025-08-31T18:50:26.865" v="7567" actId="207"/>
          <ac:spMkLst>
            <pc:docMk/>
            <pc:sldMk cId="1492403551" sldId="2147473058"/>
            <ac:spMk id="23" creationId="{CD694CF3-703C-1CA7-B7D2-CE431C51A9E3}"/>
          </ac:spMkLst>
        </pc:spChg>
        <pc:spChg chg="mod">
          <ac:chgData name="Vedang Poddar" userId="db7cd9a2-6584-4ffe-b5dc-9b2c028584de" providerId="ADAL" clId="{0AF36B87-8C6F-4169-9758-9DF6326E56DD}" dt="2025-08-31T19:19:32.684" v="8479" actId="12789"/>
          <ac:spMkLst>
            <pc:docMk/>
            <pc:sldMk cId="1492403551" sldId="2147473058"/>
            <ac:spMk id="25" creationId="{2D22F02B-0BF0-34C1-2538-D17A5F431A4B}"/>
          </ac:spMkLst>
        </pc:spChg>
        <pc:spChg chg="mod">
          <ac:chgData name="Vedang Poddar" userId="db7cd9a2-6584-4ffe-b5dc-9b2c028584de" providerId="ADAL" clId="{0AF36B87-8C6F-4169-9758-9DF6326E56DD}" dt="2025-08-31T18:47:03.595" v="7446" actId="1038"/>
          <ac:spMkLst>
            <pc:docMk/>
            <pc:sldMk cId="1492403551" sldId="2147473058"/>
            <ac:spMk id="31" creationId="{9B17DE4D-189C-15EE-91DA-91B7EAE1A412}"/>
          </ac:spMkLst>
        </pc:spChg>
        <pc:spChg chg="mod topLvl">
          <ac:chgData name="Vedang Poddar" userId="db7cd9a2-6584-4ffe-b5dc-9b2c028584de" providerId="ADAL" clId="{0AF36B87-8C6F-4169-9758-9DF6326E56DD}" dt="2025-08-31T19:30:54.499" v="8733" actId="20577"/>
          <ac:spMkLst>
            <pc:docMk/>
            <pc:sldMk cId="1492403551" sldId="2147473058"/>
            <ac:spMk id="36" creationId="{2D2EFD45-7833-86EE-4B7F-C3BCFD35DCB0}"/>
          </ac:spMkLst>
        </pc:spChg>
        <pc:spChg chg="mod topLvl">
          <ac:chgData name="Vedang Poddar" userId="db7cd9a2-6584-4ffe-b5dc-9b2c028584de" providerId="ADAL" clId="{0AF36B87-8C6F-4169-9758-9DF6326E56DD}" dt="2025-08-31T19:09:48.769" v="8144" actId="164"/>
          <ac:spMkLst>
            <pc:docMk/>
            <pc:sldMk cId="1492403551" sldId="2147473058"/>
            <ac:spMk id="40" creationId="{72732509-C121-2606-3B72-3BC2FA6295BB}"/>
          </ac:spMkLst>
        </pc:spChg>
        <pc:spChg chg="mod">
          <ac:chgData name="Vedang Poddar" userId="db7cd9a2-6584-4ffe-b5dc-9b2c028584de" providerId="ADAL" clId="{0AF36B87-8C6F-4169-9758-9DF6326E56DD}" dt="2025-08-31T19:19:32.684" v="8479" actId="12789"/>
          <ac:spMkLst>
            <pc:docMk/>
            <pc:sldMk cId="1492403551" sldId="2147473058"/>
            <ac:spMk id="42" creationId="{1FBB32DD-E7B7-7A87-819A-0B3815B91796}"/>
          </ac:spMkLst>
        </pc:spChg>
        <pc:spChg chg="mod topLvl">
          <ac:chgData name="Vedang Poddar" userId="db7cd9a2-6584-4ffe-b5dc-9b2c028584de" providerId="ADAL" clId="{0AF36B87-8C6F-4169-9758-9DF6326E56DD}" dt="2025-08-31T19:31:14.377" v="8734" actId="20577"/>
          <ac:spMkLst>
            <pc:docMk/>
            <pc:sldMk cId="1492403551" sldId="2147473058"/>
            <ac:spMk id="44" creationId="{A60DC6C7-501C-27B3-CC02-B5375BCA6474}"/>
          </ac:spMkLst>
        </pc:spChg>
        <pc:spChg chg="mod">
          <ac:chgData name="Vedang Poddar" userId="db7cd9a2-6584-4ffe-b5dc-9b2c028584de" providerId="ADAL" clId="{0AF36B87-8C6F-4169-9758-9DF6326E56DD}" dt="2025-08-31T22:02:41.564" v="10747" actId="20577"/>
          <ac:spMkLst>
            <pc:docMk/>
            <pc:sldMk cId="1492403551" sldId="2147473058"/>
            <ac:spMk id="48" creationId="{CCCFB764-3D7E-2BC1-74F9-BD85F78F33AA}"/>
          </ac:spMkLst>
        </pc:spChg>
        <pc:spChg chg="mod">
          <ac:chgData name="Vedang Poddar" userId="db7cd9a2-6584-4ffe-b5dc-9b2c028584de" providerId="ADAL" clId="{0AF36B87-8C6F-4169-9758-9DF6326E56DD}" dt="2025-08-31T18:53:39.303" v="7583" actId="1076"/>
          <ac:spMkLst>
            <pc:docMk/>
            <pc:sldMk cId="1492403551" sldId="2147473058"/>
            <ac:spMk id="49" creationId="{23D00C1D-B1DE-BA73-FFAA-798222F4EA45}"/>
          </ac:spMkLst>
        </pc:spChg>
        <pc:spChg chg="mod topLvl">
          <ac:chgData name="Vedang Poddar" userId="db7cd9a2-6584-4ffe-b5dc-9b2c028584de" providerId="ADAL" clId="{0AF36B87-8C6F-4169-9758-9DF6326E56DD}" dt="2025-08-31T19:09:46.596" v="8143" actId="164"/>
          <ac:spMkLst>
            <pc:docMk/>
            <pc:sldMk cId="1492403551" sldId="2147473058"/>
            <ac:spMk id="50" creationId="{C266BDF0-6895-06CE-AFCC-5FB2F96B397B}"/>
          </ac:spMkLst>
        </pc:spChg>
        <pc:spChg chg="mod">
          <ac:chgData name="Vedang Poddar" userId="db7cd9a2-6584-4ffe-b5dc-9b2c028584de" providerId="ADAL" clId="{0AF36B87-8C6F-4169-9758-9DF6326E56DD}" dt="2025-08-31T18:47:03.595" v="7446" actId="1038"/>
          <ac:spMkLst>
            <pc:docMk/>
            <pc:sldMk cId="1492403551" sldId="2147473058"/>
            <ac:spMk id="57" creationId="{852FBEA2-1395-9B94-FC74-0AFED3B9DFC1}"/>
          </ac:spMkLst>
        </pc:spChg>
        <pc:spChg chg="mod">
          <ac:chgData name="Vedang Poddar" userId="db7cd9a2-6584-4ffe-b5dc-9b2c028584de" providerId="ADAL" clId="{0AF36B87-8C6F-4169-9758-9DF6326E56DD}" dt="2025-08-31T19:30:19.608" v="8694" actId="1035"/>
          <ac:spMkLst>
            <pc:docMk/>
            <pc:sldMk cId="1492403551" sldId="2147473058"/>
            <ac:spMk id="58" creationId="{45A4D418-5FE4-F3CF-1C63-E81E2E37CD13}"/>
          </ac:spMkLst>
        </pc:spChg>
        <pc:spChg chg="mod">
          <ac:chgData name="Vedang Poddar" userId="db7cd9a2-6584-4ffe-b5dc-9b2c028584de" providerId="ADAL" clId="{0AF36B87-8C6F-4169-9758-9DF6326E56DD}" dt="2025-08-31T19:20:06.664" v="8517" actId="1038"/>
          <ac:spMkLst>
            <pc:docMk/>
            <pc:sldMk cId="1492403551" sldId="2147473058"/>
            <ac:spMk id="1030" creationId="{36F8935D-7A29-A209-DB80-FEC711C4C36B}"/>
          </ac:spMkLst>
        </pc:spChg>
        <pc:spChg chg="mod topLvl">
          <ac:chgData name="Vedang Poddar" userId="db7cd9a2-6584-4ffe-b5dc-9b2c028584de" providerId="ADAL" clId="{0AF36B87-8C6F-4169-9758-9DF6326E56DD}" dt="2025-08-31T19:09:43.723" v="8142" actId="164"/>
          <ac:spMkLst>
            <pc:docMk/>
            <pc:sldMk cId="1492403551" sldId="2147473058"/>
            <ac:spMk id="1031" creationId="{1D0B33DC-28C8-7E1C-EDE1-202B0DD576B5}"/>
          </ac:spMkLst>
        </pc:spChg>
        <pc:spChg chg="mod topLvl">
          <ac:chgData name="Vedang Poddar" userId="db7cd9a2-6584-4ffe-b5dc-9b2c028584de" providerId="ADAL" clId="{0AF36B87-8C6F-4169-9758-9DF6326E56DD}" dt="2025-08-31T19:09:43.723" v="8142" actId="164"/>
          <ac:spMkLst>
            <pc:docMk/>
            <pc:sldMk cId="1492403551" sldId="2147473058"/>
            <ac:spMk id="1035" creationId="{1C8F5878-8516-C0C5-F917-F583A4FB5230}"/>
          </ac:spMkLst>
        </pc:spChg>
        <pc:spChg chg="mod topLvl">
          <ac:chgData name="Vedang Poddar" userId="db7cd9a2-6584-4ffe-b5dc-9b2c028584de" providerId="ADAL" clId="{0AF36B87-8C6F-4169-9758-9DF6326E56DD}" dt="2025-08-31T19:31:29.108" v="8737" actId="1037"/>
          <ac:spMkLst>
            <pc:docMk/>
            <pc:sldMk cId="1492403551" sldId="2147473058"/>
            <ac:spMk id="1037" creationId="{D7D4970E-10AE-076C-65F1-D5A854E8FF98}"/>
          </ac:spMkLst>
        </pc:spChg>
        <pc:spChg chg="mod topLvl">
          <ac:chgData name="Vedang Poddar" userId="db7cd9a2-6584-4ffe-b5dc-9b2c028584de" providerId="ADAL" clId="{0AF36B87-8C6F-4169-9758-9DF6326E56DD}" dt="2025-08-31T19:09:52.372" v="8146" actId="164"/>
          <ac:spMkLst>
            <pc:docMk/>
            <pc:sldMk cId="1492403551" sldId="2147473058"/>
            <ac:spMk id="1038" creationId="{6DEEA4A4-C222-F4F9-CCC3-BE3DA730CE28}"/>
          </ac:spMkLst>
        </pc:spChg>
        <pc:spChg chg="mod topLvl">
          <ac:chgData name="Vedang Poddar" userId="db7cd9a2-6584-4ffe-b5dc-9b2c028584de" providerId="ADAL" clId="{0AF36B87-8C6F-4169-9758-9DF6326E56DD}" dt="2025-08-31T19:10:03.830" v="8150" actId="1076"/>
          <ac:spMkLst>
            <pc:docMk/>
            <pc:sldMk cId="1492403551" sldId="2147473058"/>
            <ac:spMk id="1039" creationId="{9F62DB48-028E-26E1-E479-0847A7F2E2AC}"/>
          </ac:spMkLst>
        </pc:spChg>
        <pc:spChg chg="mod topLvl">
          <ac:chgData name="Vedang Poddar" userId="db7cd9a2-6584-4ffe-b5dc-9b2c028584de" providerId="ADAL" clId="{0AF36B87-8C6F-4169-9758-9DF6326E56DD}" dt="2025-08-31T19:10:06.963" v="8152" actId="1076"/>
          <ac:spMkLst>
            <pc:docMk/>
            <pc:sldMk cId="1492403551" sldId="2147473058"/>
            <ac:spMk id="1041" creationId="{C306ED90-434F-50D1-B676-B2D246151C5C}"/>
          </ac:spMkLst>
        </pc:spChg>
        <pc:spChg chg="add mod">
          <ac:chgData name="Vedang Poddar" userId="db7cd9a2-6584-4ffe-b5dc-9b2c028584de" providerId="ADAL" clId="{0AF36B87-8C6F-4169-9758-9DF6326E56DD}" dt="2025-08-31T19:20:56.289" v="8525" actId="14100"/>
          <ac:spMkLst>
            <pc:docMk/>
            <pc:sldMk cId="1492403551" sldId="2147473058"/>
            <ac:spMk id="1048" creationId="{F34BBAB3-FC1D-27E2-C7A3-043956A8D89E}"/>
          </ac:spMkLst>
        </pc:spChg>
        <pc:spChg chg="mod">
          <ac:chgData name="Vedang Poddar" userId="db7cd9a2-6584-4ffe-b5dc-9b2c028584de" providerId="ADAL" clId="{0AF36B87-8C6F-4169-9758-9DF6326E56DD}" dt="2025-08-31T19:19:38.004" v="8483" actId="1036"/>
          <ac:spMkLst>
            <pc:docMk/>
            <pc:sldMk cId="1492403551" sldId="2147473058"/>
            <ac:spMk id="1069" creationId="{C0184DBF-99B3-AB99-1F6E-05BC927110B4}"/>
          </ac:spMkLst>
        </pc:spChg>
        <pc:spChg chg="add mod">
          <ac:chgData name="Vedang Poddar" userId="db7cd9a2-6584-4ffe-b5dc-9b2c028584de" providerId="ADAL" clId="{0AF36B87-8C6F-4169-9758-9DF6326E56DD}" dt="2025-08-31T21:39:31.559" v="10615" actId="1037"/>
          <ac:spMkLst>
            <pc:docMk/>
            <pc:sldMk cId="1492403551" sldId="2147473058"/>
            <ac:spMk id="1075" creationId="{1018B583-D0CB-5268-F810-C414A6F47F0E}"/>
          </ac:spMkLst>
        </pc:spChg>
        <pc:spChg chg="add mod">
          <ac:chgData name="Vedang Poddar" userId="db7cd9a2-6584-4ffe-b5dc-9b2c028584de" providerId="ADAL" clId="{0AF36B87-8C6F-4169-9758-9DF6326E56DD}" dt="2025-08-31T21:51:37.574" v="10743" actId="1036"/>
          <ac:spMkLst>
            <pc:docMk/>
            <pc:sldMk cId="1492403551" sldId="2147473058"/>
            <ac:spMk id="1076" creationId="{88B39B88-251D-324E-1BD9-AD17AFBD9E29}"/>
          </ac:spMkLst>
        </pc:spChg>
        <pc:spChg chg="add mod">
          <ac:chgData name="Vedang Poddar" userId="db7cd9a2-6584-4ffe-b5dc-9b2c028584de" providerId="ADAL" clId="{0AF36B87-8C6F-4169-9758-9DF6326E56DD}" dt="2025-08-31T21:51:37.574" v="10743" actId="1036"/>
          <ac:spMkLst>
            <pc:docMk/>
            <pc:sldMk cId="1492403551" sldId="2147473058"/>
            <ac:spMk id="1077" creationId="{E50F154B-355E-3E67-2411-5FA6BE3ABA05}"/>
          </ac:spMkLst>
        </pc:spChg>
        <pc:spChg chg="add mod">
          <ac:chgData name="Vedang Poddar" userId="db7cd9a2-6584-4ffe-b5dc-9b2c028584de" providerId="ADAL" clId="{0AF36B87-8C6F-4169-9758-9DF6326E56DD}" dt="2025-08-31T21:39:31.559" v="10615" actId="1037"/>
          <ac:spMkLst>
            <pc:docMk/>
            <pc:sldMk cId="1492403551" sldId="2147473058"/>
            <ac:spMk id="1079" creationId="{CE96FFC5-3417-7D91-24A3-EBA04DFC4B57}"/>
          </ac:spMkLst>
        </pc:spChg>
        <pc:spChg chg="add mod">
          <ac:chgData name="Vedang Poddar" userId="db7cd9a2-6584-4ffe-b5dc-9b2c028584de" providerId="ADAL" clId="{0AF36B87-8C6F-4169-9758-9DF6326E56DD}" dt="2025-08-31T21:39:42.660" v="10616" actId="1076"/>
          <ac:spMkLst>
            <pc:docMk/>
            <pc:sldMk cId="1492403551" sldId="2147473058"/>
            <ac:spMk id="1080" creationId="{CE381922-38EE-61E1-6027-203DD5872F4F}"/>
          </ac:spMkLst>
        </pc:spChg>
        <pc:spChg chg="add mod">
          <ac:chgData name="Vedang Poddar" userId="db7cd9a2-6584-4ffe-b5dc-9b2c028584de" providerId="ADAL" clId="{0AF36B87-8C6F-4169-9758-9DF6326E56DD}" dt="2025-08-31T21:39:42.660" v="10616" actId="1076"/>
          <ac:spMkLst>
            <pc:docMk/>
            <pc:sldMk cId="1492403551" sldId="2147473058"/>
            <ac:spMk id="1081" creationId="{F5C2EE6A-F428-17E7-2CA2-A0BACEEA130F}"/>
          </ac:spMkLst>
        </pc:spChg>
        <pc:spChg chg="add mod">
          <ac:chgData name="Vedang Poddar" userId="db7cd9a2-6584-4ffe-b5dc-9b2c028584de" providerId="ADAL" clId="{0AF36B87-8C6F-4169-9758-9DF6326E56DD}" dt="2025-08-31T22:15:47.185" v="10791" actId="20577"/>
          <ac:spMkLst>
            <pc:docMk/>
            <pc:sldMk cId="1492403551" sldId="2147473058"/>
            <ac:spMk id="1082" creationId="{AB73A695-7F1D-292C-55C8-279D6EB329CE}"/>
          </ac:spMkLst>
        </pc:spChg>
        <pc:spChg chg="add mod">
          <ac:chgData name="Vedang Poddar" userId="db7cd9a2-6584-4ffe-b5dc-9b2c028584de" providerId="ADAL" clId="{0AF36B87-8C6F-4169-9758-9DF6326E56DD}" dt="2025-08-31T22:15:53.090" v="10792" actId="313"/>
          <ac:spMkLst>
            <pc:docMk/>
            <pc:sldMk cId="1492403551" sldId="2147473058"/>
            <ac:spMk id="1083" creationId="{941A80EB-60D8-B5DD-0068-10D0DF4C1719}"/>
          </ac:spMkLst>
        </pc:spChg>
        <pc:spChg chg="add mod">
          <ac:chgData name="Vedang Poddar" userId="db7cd9a2-6584-4ffe-b5dc-9b2c028584de" providerId="ADAL" clId="{0AF36B87-8C6F-4169-9758-9DF6326E56DD}" dt="2025-08-31T21:39:47.354" v="10617" actId="1076"/>
          <ac:spMkLst>
            <pc:docMk/>
            <pc:sldMk cId="1492403551" sldId="2147473058"/>
            <ac:spMk id="1084" creationId="{E2096EAB-7C90-8799-F093-3E6BC7C9A818}"/>
          </ac:spMkLst>
        </pc:spChg>
        <pc:spChg chg="add mod">
          <ac:chgData name="Vedang Poddar" userId="db7cd9a2-6584-4ffe-b5dc-9b2c028584de" providerId="ADAL" clId="{0AF36B87-8C6F-4169-9758-9DF6326E56DD}" dt="2025-08-31T21:39:47.354" v="10617" actId="1076"/>
          <ac:spMkLst>
            <pc:docMk/>
            <pc:sldMk cId="1492403551" sldId="2147473058"/>
            <ac:spMk id="1085" creationId="{5728153C-1428-1322-D6F9-4D78EC368BE9}"/>
          </ac:spMkLst>
        </pc:spChg>
        <pc:spChg chg="mod">
          <ac:chgData name="Vedang Poddar" userId="db7cd9a2-6584-4ffe-b5dc-9b2c028584de" providerId="ADAL" clId="{0AF36B87-8C6F-4169-9758-9DF6326E56DD}" dt="2025-08-31T19:28:02.966" v="8616" actId="1036"/>
          <ac:spMkLst>
            <pc:docMk/>
            <pc:sldMk cId="1492403551" sldId="2147473058"/>
            <ac:spMk id="1089" creationId="{AE57AF15-19E0-0351-0D20-3B97A1D6162E}"/>
          </ac:spMkLst>
        </pc:spChg>
        <pc:spChg chg="add mod">
          <ac:chgData name="Vedang Poddar" userId="db7cd9a2-6584-4ffe-b5dc-9b2c028584de" providerId="ADAL" clId="{0AF36B87-8C6F-4169-9758-9DF6326E56DD}" dt="2025-08-31T21:51:37.574" v="10743" actId="1036"/>
          <ac:spMkLst>
            <pc:docMk/>
            <pc:sldMk cId="1492403551" sldId="2147473058"/>
            <ac:spMk id="1090" creationId="{F9625FC2-7CEF-FDDC-D174-FCC70C485033}"/>
          </ac:spMkLst>
        </pc:spChg>
        <pc:spChg chg="add mod">
          <ac:chgData name="Vedang Poddar" userId="db7cd9a2-6584-4ffe-b5dc-9b2c028584de" providerId="ADAL" clId="{0AF36B87-8C6F-4169-9758-9DF6326E56DD}" dt="2025-08-31T21:51:37.574" v="10743" actId="1036"/>
          <ac:spMkLst>
            <pc:docMk/>
            <pc:sldMk cId="1492403551" sldId="2147473058"/>
            <ac:spMk id="1092" creationId="{11233D17-06D4-AC2D-3D9B-A5EAF54C4855}"/>
          </ac:spMkLst>
        </pc:spChg>
        <pc:spChg chg="mod">
          <ac:chgData name="Vedang Poddar" userId="db7cd9a2-6584-4ffe-b5dc-9b2c028584de" providerId="ADAL" clId="{0AF36B87-8C6F-4169-9758-9DF6326E56DD}" dt="2025-08-31T19:10:48.439" v="8187" actId="1076"/>
          <ac:spMkLst>
            <pc:docMk/>
            <pc:sldMk cId="1492403551" sldId="2147473058"/>
            <ac:spMk id="1100" creationId="{3FFA9511-9339-4639-CF1E-CE1D5F635DAD}"/>
          </ac:spMkLst>
        </pc:spChg>
        <pc:spChg chg="mod">
          <ac:chgData name="Vedang Poddar" userId="db7cd9a2-6584-4ffe-b5dc-9b2c028584de" providerId="ADAL" clId="{0AF36B87-8C6F-4169-9758-9DF6326E56DD}" dt="2025-08-31T19:00:35.645" v="7677" actId="255"/>
          <ac:spMkLst>
            <pc:docMk/>
            <pc:sldMk cId="1492403551" sldId="2147473058"/>
            <ac:spMk id="1103" creationId="{606252E3-A2F9-31F9-9F6C-94C3844898B0}"/>
          </ac:spMkLst>
        </pc:spChg>
        <pc:spChg chg="mod">
          <ac:chgData name="Vedang Poddar" userId="db7cd9a2-6584-4ffe-b5dc-9b2c028584de" providerId="ADAL" clId="{0AF36B87-8C6F-4169-9758-9DF6326E56DD}" dt="2025-08-31T18:49:22.324" v="7554" actId="14100"/>
          <ac:spMkLst>
            <pc:docMk/>
            <pc:sldMk cId="1492403551" sldId="2147473058"/>
            <ac:spMk id="1108" creationId="{0CF85807-8A17-590D-49F0-2E5379935EE3}"/>
          </ac:spMkLst>
        </pc:spChg>
        <pc:spChg chg="mod">
          <ac:chgData name="Vedang Poddar" userId="db7cd9a2-6584-4ffe-b5dc-9b2c028584de" providerId="ADAL" clId="{0AF36B87-8C6F-4169-9758-9DF6326E56DD}" dt="2025-08-31T18:49:22.324" v="7554" actId="14100"/>
          <ac:spMkLst>
            <pc:docMk/>
            <pc:sldMk cId="1492403551" sldId="2147473058"/>
            <ac:spMk id="1109" creationId="{402CB58B-7429-8366-F97A-D6163DAC2CB6}"/>
          </ac:spMkLst>
        </pc:spChg>
        <pc:spChg chg="mod">
          <ac:chgData name="Vedang Poddar" userId="db7cd9a2-6584-4ffe-b5dc-9b2c028584de" providerId="ADAL" clId="{0AF36B87-8C6F-4169-9758-9DF6326E56DD}" dt="2025-08-31T18:49:22.324" v="7554" actId="14100"/>
          <ac:spMkLst>
            <pc:docMk/>
            <pc:sldMk cId="1492403551" sldId="2147473058"/>
            <ac:spMk id="1110" creationId="{C270E5B1-575A-81EB-6DD5-EA9968CDEB17}"/>
          </ac:spMkLst>
        </pc:spChg>
        <pc:spChg chg="mod">
          <ac:chgData name="Vedang Poddar" userId="db7cd9a2-6584-4ffe-b5dc-9b2c028584de" providerId="ADAL" clId="{0AF36B87-8C6F-4169-9758-9DF6326E56DD}" dt="2025-08-31T18:49:22.324" v="7554" actId="14100"/>
          <ac:spMkLst>
            <pc:docMk/>
            <pc:sldMk cId="1492403551" sldId="2147473058"/>
            <ac:spMk id="1111" creationId="{A4866A93-AC60-2A7B-A158-42898EFBA346}"/>
          </ac:spMkLst>
        </pc:spChg>
        <pc:spChg chg="mod">
          <ac:chgData name="Vedang Poddar" userId="db7cd9a2-6584-4ffe-b5dc-9b2c028584de" providerId="ADAL" clId="{0AF36B87-8C6F-4169-9758-9DF6326E56DD}" dt="2025-08-31T18:49:51.162" v="7557" actId="207"/>
          <ac:spMkLst>
            <pc:docMk/>
            <pc:sldMk cId="1492403551" sldId="2147473058"/>
            <ac:spMk id="1116" creationId="{018E6F56-0BEF-3F79-0419-1CCB1430F78E}"/>
          </ac:spMkLst>
        </pc:spChg>
        <pc:spChg chg="mod">
          <ac:chgData name="Vedang Poddar" userId="db7cd9a2-6584-4ffe-b5dc-9b2c028584de" providerId="ADAL" clId="{0AF36B87-8C6F-4169-9758-9DF6326E56DD}" dt="2025-08-31T18:47:03.595" v="7446" actId="1038"/>
          <ac:spMkLst>
            <pc:docMk/>
            <pc:sldMk cId="1492403551" sldId="2147473058"/>
            <ac:spMk id="1117" creationId="{B044C352-A2D0-7A9A-0F63-CFB4890BE2FB}"/>
          </ac:spMkLst>
        </pc:spChg>
        <pc:grpChg chg="add mod">
          <ac:chgData name="Vedang Poddar" userId="db7cd9a2-6584-4ffe-b5dc-9b2c028584de" providerId="ADAL" clId="{0AF36B87-8C6F-4169-9758-9DF6326E56DD}" dt="2025-08-31T19:11:11.037" v="8206" actId="465"/>
          <ac:grpSpMkLst>
            <pc:docMk/>
            <pc:sldMk cId="1492403551" sldId="2147473058"/>
            <ac:grpSpMk id="1042" creationId="{7E6932E2-C7E5-3527-456D-8C192E9D9C6E}"/>
          </ac:grpSpMkLst>
        </pc:grpChg>
        <pc:grpChg chg="add mod">
          <ac:chgData name="Vedang Poddar" userId="db7cd9a2-6584-4ffe-b5dc-9b2c028584de" providerId="ADAL" clId="{0AF36B87-8C6F-4169-9758-9DF6326E56DD}" dt="2025-08-31T19:11:11.037" v="8206" actId="465"/>
          <ac:grpSpMkLst>
            <pc:docMk/>
            <pc:sldMk cId="1492403551" sldId="2147473058"/>
            <ac:grpSpMk id="1043" creationId="{1EB6AF6B-B03D-8367-1F72-8347AC6573FC}"/>
          </ac:grpSpMkLst>
        </pc:grpChg>
        <pc:grpChg chg="add mod">
          <ac:chgData name="Vedang Poddar" userId="db7cd9a2-6584-4ffe-b5dc-9b2c028584de" providerId="ADAL" clId="{0AF36B87-8C6F-4169-9758-9DF6326E56DD}" dt="2025-08-31T19:11:03.844" v="8205" actId="1037"/>
          <ac:grpSpMkLst>
            <pc:docMk/>
            <pc:sldMk cId="1492403551" sldId="2147473058"/>
            <ac:grpSpMk id="1045" creationId="{D4577C9B-21ED-B08F-3CAA-AF6BB39138C0}"/>
          </ac:grpSpMkLst>
        </pc:grpChg>
        <pc:grpChg chg="add mod">
          <ac:chgData name="Vedang Poddar" userId="db7cd9a2-6584-4ffe-b5dc-9b2c028584de" providerId="ADAL" clId="{0AF36B87-8C6F-4169-9758-9DF6326E56DD}" dt="2025-08-31T19:11:11.037" v="8206" actId="465"/>
          <ac:grpSpMkLst>
            <pc:docMk/>
            <pc:sldMk cId="1492403551" sldId="2147473058"/>
            <ac:grpSpMk id="1046" creationId="{630AFB14-EB82-AE89-E4AA-E6EC08F8E827}"/>
          </ac:grpSpMkLst>
        </pc:grpChg>
        <pc:grpChg chg="add mod">
          <ac:chgData name="Vedang Poddar" userId="db7cd9a2-6584-4ffe-b5dc-9b2c028584de" providerId="ADAL" clId="{0AF36B87-8C6F-4169-9758-9DF6326E56DD}" dt="2025-08-31T19:11:03.844" v="8205" actId="1037"/>
          <ac:grpSpMkLst>
            <pc:docMk/>
            <pc:sldMk cId="1492403551" sldId="2147473058"/>
            <ac:grpSpMk id="1047" creationId="{12B7A1BF-A74A-CA79-72DD-024A7011B5C3}"/>
          </ac:grpSpMkLst>
        </pc:grpChg>
        <pc:picChg chg="mod">
          <ac:chgData name="Vedang Poddar" userId="db7cd9a2-6584-4ffe-b5dc-9b2c028584de" providerId="ADAL" clId="{0AF36B87-8C6F-4169-9758-9DF6326E56DD}" dt="2025-08-31T21:42:05.830" v="10634" actId="1076"/>
          <ac:picMkLst>
            <pc:docMk/>
            <pc:sldMk cId="1492403551" sldId="2147473058"/>
            <ac:picMk id="20" creationId="{6BE602E5-41E2-6DF3-11A1-C6ADB4127BD8}"/>
          </ac:picMkLst>
        </pc:picChg>
        <pc:picChg chg="mod">
          <ac:chgData name="Vedang Poddar" userId="db7cd9a2-6584-4ffe-b5dc-9b2c028584de" providerId="ADAL" clId="{0AF36B87-8C6F-4169-9758-9DF6326E56DD}" dt="2025-08-31T19:31:41.536" v="8790" actId="1036"/>
          <ac:picMkLst>
            <pc:docMk/>
            <pc:sldMk cId="1492403551" sldId="2147473058"/>
            <ac:picMk id="60" creationId="{C29D7C92-B3E1-CA6C-517C-E31D8F0FED3C}"/>
          </ac:picMkLst>
        </pc:picChg>
        <pc:picChg chg="mod">
          <ac:chgData name="Vedang Poddar" userId="db7cd9a2-6584-4ffe-b5dc-9b2c028584de" providerId="ADAL" clId="{0AF36B87-8C6F-4169-9758-9DF6326E56DD}" dt="2025-08-31T19:28:02.966" v="8616" actId="1036"/>
          <ac:picMkLst>
            <pc:docMk/>
            <pc:sldMk cId="1492403551" sldId="2147473058"/>
            <ac:picMk id="62" creationId="{5ADE1947-0652-8FFD-3EAD-F2E9A222ED5D}"/>
          </ac:picMkLst>
        </pc:picChg>
        <pc:picChg chg="mod">
          <ac:chgData name="Vedang Poddar" userId="db7cd9a2-6584-4ffe-b5dc-9b2c028584de" providerId="ADAL" clId="{0AF36B87-8C6F-4169-9758-9DF6326E56DD}" dt="2025-08-31T19:31:35.807" v="8769" actId="1035"/>
          <ac:picMkLst>
            <pc:docMk/>
            <pc:sldMk cId="1492403551" sldId="2147473058"/>
            <ac:picMk id="1034" creationId="{FF69F00C-9CD9-CB9E-2C55-4BE064728522}"/>
          </ac:picMkLst>
        </pc:picChg>
        <pc:picChg chg="mod">
          <ac:chgData name="Vedang Poddar" userId="db7cd9a2-6584-4ffe-b5dc-9b2c028584de" providerId="ADAL" clId="{0AF36B87-8C6F-4169-9758-9DF6326E56DD}" dt="2025-08-31T19:29:43.505" v="8649" actId="1037"/>
          <ac:picMkLst>
            <pc:docMk/>
            <pc:sldMk cId="1492403551" sldId="2147473058"/>
            <ac:picMk id="1036" creationId="{A3B84B4E-99BD-6867-B5AE-4F829A9CB8F9}"/>
          </ac:picMkLst>
        </pc:picChg>
        <pc:picChg chg="mod">
          <ac:chgData name="Vedang Poddar" userId="db7cd9a2-6584-4ffe-b5dc-9b2c028584de" providerId="ADAL" clId="{0AF36B87-8C6F-4169-9758-9DF6326E56DD}" dt="2025-08-31T19:29:43.505" v="8649" actId="1037"/>
          <ac:picMkLst>
            <pc:docMk/>
            <pc:sldMk cId="1492403551" sldId="2147473058"/>
            <ac:picMk id="1040" creationId="{371A9C17-E9CD-05A4-1FE9-C542C186EE61}"/>
          </ac:picMkLst>
        </pc:picChg>
        <pc:picChg chg="mod">
          <ac:chgData name="Vedang Poddar" userId="db7cd9a2-6584-4ffe-b5dc-9b2c028584de" providerId="ADAL" clId="{0AF36B87-8C6F-4169-9758-9DF6326E56DD}" dt="2025-08-31T19:29:34.236" v="8636" actId="1076"/>
          <ac:picMkLst>
            <pc:docMk/>
            <pc:sldMk cId="1492403551" sldId="2147473058"/>
            <ac:picMk id="1044" creationId="{9AF9AF06-BE3A-3C6F-3CEE-6679A44FEE92}"/>
          </ac:picMkLst>
        </pc:picChg>
        <pc:picChg chg="mod">
          <ac:chgData name="Vedang Poddar" userId="db7cd9a2-6584-4ffe-b5dc-9b2c028584de" providerId="ADAL" clId="{0AF36B87-8C6F-4169-9758-9DF6326E56DD}" dt="2025-08-31T17:05:04.838" v="6852" actId="1076"/>
          <ac:picMkLst>
            <pc:docMk/>
            <pc:sldMk cId="1492403551" sldId="2147473058"/>
            <ac:picMk id="1093" creationId="{9AE235F7-F832-09B9-4AF4-31E84F79D5D3}"/>
          </ac:picMkLst>
        </pc:picChg>
        <pc:picChg chg="mod">
          <ac:chgData name="Vedang Poddar" userId="db7cd9a2-6584-4ffe-b5dc-9b2c028584de" providerId="ADAL" clId="{0AF36B87-8C6F-4169-9758-9DF6326E56DD}" dt="2025-08-31T19:10:43.111" v="8186" actId="1076"/>
          <ac:picMkLst>
            <pc:docMk/>
            <pc:sldMk cId="1492403551" sldId="2147473058"/>
            <ac:picMk id="1102" creationId="{8A7A6B9C-7523-2D23-5662-B0CD7E99226A}"/>
          </ac:picMkLst>
        </pc:picChg>
        <pc:picChg chg="mod">
          <ac:chgData name="Vedang Poddar" userId="db7cd9a2-6584-4ffe-b5dc-9b2c028584de" providerId="ADAL" clId="{0AF36B87-8C6F-4169-9758-9DF6326E56DD}" dt="2025-08-31T18:49:22.324" v="7554" actId="14100"/>
          <ac:picMkLst>
            <pc:docMk/>
            <pc:sldMk cId="1492403551" sldId="2147473058"/>
            <ac:picMk id="1104" creationId="{61D9C323-A71D-A1D7-6CAF-D34436922F50}"/>
          </ac:picMkLst>
        </pc:picChg>
        <pc:picChg chg="mod">
          <ac:chgData name="Vedang Poddar" userId="db7cd9a2-6584-4ffe-b5dc-9b2c028584de" providerId="ADAL" clId="{0AF36B87-8C6F-4169-9758-9DF6326E56DD}" dt="2025-08-31T18:49:22.324" v="7554" actId="14100"/>
          <ac:picMkLst>
            <pc:docMk/>
            <pc:sldMk cId="1492403551" sldId="2147473058"/>
            <ac:picMk id="1105" creationId="{80EFF18F-5F5F-E77E-58DA-639A4C155C3E}"/>
          </ac:picMkLst>
        </pc:picChg>
        <pc:picChg chg="mod">
          <ac:chgData name="Vedang Poddar" userId="db7cd9a2-6584-4ffe-b5dc-9b2c028584de" providerId="ADAL" clId="{0AF36B87-8C6F-4169-9758-9DF6326E56DD}" dt="2025-08-31T18:49:22.324" v="7554" actId="14100"/>
          <ac:picMkLst>
            <pc:docMk/>
            <pc:sldMk cId="1492403551" sldId="2147473058"/>
            <ac:picMk id="1106" creationId="{FFF04377-CA39-34FF-ADE9-E070FBE81C65}"/>
          </ac:picMkLst>
        </pc:picChg>
        <pc:picChg chg="mod">
          <ac:chgData name="Vedang Poddar" userId="db7cd9a2-6584-4ffe-b5dc-9b2c028584de" providerId="ADAL" clId="{0AF36B87-8C6F-4169-9758-9DF6326E56DD}" dt="2025-08-31T18:49:22.324" v="7554" actId="14100"/>
          <ac:picMkLst>
            <pc:docMk/>
            <pc:sldMk cId="1492403551" sldId="2147473058"/>
            <ac:picMk id="1107" creationId="{1A19E6C8-6795-D965-1B20-5F456D278E26}"/>
          </ac:picMkLst>
        </pc:picChg>
        <pc:cxnChg chg="mod">
          <ac:chgData name="Vedang Poddar" userId="db7cd9a2-6584-4ffe-b5dc-9b2c028584de" providerId="ADAL" clId="{0AF36B87-8C6F-4169-9758-9DF6326E56DD}" dt="2025-08-31T18:49:46.213" v="7556" actId="1076"/>
          <ac:cxnSpMkLst>
            <pc:docMk/>
            <pc:sldMk cId="1492403551" sldId="2147473058"/>
            <ac:cxnSpMk id="16" creationId="{B1E52178-46A6-8D3A-9AAF-33A061E379B3}"/>
          </ac:cxnSpMkLst>
        </pc:cxnChg>
        <pc:cxnChg chg="mod">
          <ac:chgData name="Vedang Poddar" userId="db7cd9a2-6584-4ffe-b5dc-9b2c028584de" providerId="ADAL" clId="{0AF36B87-8C6F-4169-9758-9DF6326E56DD}" dt="2025-08-31T17:06:49.607" v="6868" actId="1076"/>
          <ac:cxnSpMkLst>
            <pc:docMk/>
            <pc:sldMk cId="1492403551" sldId="2147473058"/>
            <ac:cxnSpMk id="38" creationId="{02AC6AB9-6C81-C663-9779-86269C7EA51C}"/>
          </ac:cxnSpMkLst>
        </pc:cxnChg>
        <pc:cxnChg chg="add del mod">
          <ac:chgData name="Vedang Poddar" userId="db7cd9a2-6584-4ffe-b5dc-9b2c028584de" providerId="ADAL" clId="{0AF36B87-8C6F-4169-9758-9DF6326E56DD}" dt="2025-08-31T18:46:43.008" v="7435" actId="1035"/>
          <ac:cxnSpMkLst>
            <pc:docMk/>
            <pc:sldMk cId="1492403551" sldId="2147473058"/>
            <ac:cxnSpMk id="41" creationId="{EDE102ED-8A97-4084-A6BB-0583E9C755ED}"/>
          </ac:cxnSpMkLst>
        </pc:cxnChg>
        <pc:cxnChg chg="mod">
          <ac:chgData name="Vedang Poddar" userId="db7cd9a2-6584-4ffe-b5dc-9b2c028584de" providerId="ADAL" clId="{0AF36B87-8C6F-4169-9758-9DF6326E56DD}" dt="2025-08-31T19:28:02.966" v="8616" actId="1036"/>
          <ac:cxnSpMkLst>
            <pc:docMk/>
            <pc:sldMk cId="1492403551" sldId="2147473058"/>
            <ac:cxnSpMk id="1091" creationId="{90900CB7-051B-1555-FB8B-58865DBB47B6}"/>
          </ac:cxnSpMkLst>
        </pc:cxnChg>
      </pc:sldChg>
      <pc:sldChg chg="addSp modSp new del">
        <pc:chgData name="Vedang Poddar" userId="db7cd9a2-6584-4ffe-b5dc-9b2c028584de" providerId="ADAL" clId="{0AF36B87-8C6F-4169-9758-9DF6326E56DD}" dt="2025-08-31T21:47:26.947" v="10642" actId="47"/>
        <pc:sldMkLst>
          <pc:docMk/>
          <pc:sldMk cId="4218562933" sldId="2147473059"/>
        </pc:sldMkLst>
      </pc:sldChg>
      <pc:sldMasterChg chg="addSp delSp modSp mod modSldLayout">
        <pc:chgData name="Vedang Poddar" userId="db7cd9a2-6584-4ffe-b5dc-9b2c028584de" providerId="ADAL" clId="{0AF36B87-8C6F-4169-9758-9DF6326E56DD}" dt="2025-08-30T20:56:39.329" v="1177" actId="735"/>
        <pc:sldMasterMkLst>
          <pc:docMk/>
          <pc:sldMasterMk cId="2948122457" sldId="2147483648"/>
        </pc:sldMasterMkLst>
        <pc:sldLayoutChg chg="addSp modSp">
          <pc:chgData name="Vedang Poddar" userId="db7cd9a2-6584-4ffe-b5dc-9b2c028584de" providerId="ADAL" clId="{0AF36B87-8C6F-4169-9758-9DF6326E56DD}" dt="2025-08-30T09:58:39.348" v="43"/>
          <pc:sldLayoutMkLst>
            <pc:docMk/>
            <pc:sldMasterMk cId="2948122457" sldId="2147483648"/>
            <pc:sldLayoutMk cId="2781948633" sldId="2147483650"/>
          </pc:sldLayoutMkLst>
        </pc:sldLayoutChg>
      </pc:sldMasterChg>
    </pc:docChg>
  </pc:docChgLst>
  <pc:docChgLst>
    <pc:chgData name="Ria Jha" userId="S::ria.jha2026@bitsom.edu.in::8589c87f-6000-4143-bd88-dc2330063ed3" providerId="AD" clId="Web-{96A75177-DE01-8890-7B88-CB6398204C16}"/>
    <pc:docChg chg="modSld">
      <pc:chgData name="Ria Jha" userId="S::ria.jha2026@bitsom.edu.in::8589c87f-6000-4143-bd88-dc2330063ed3" providerId="AD" clId="Web-{96A75177-DE01-8890-7B88-CB6398204C16}" dt="2025-08-31T18:43:17.968" v="0" actId="20577"/>
      <pc:docMkLst>
        <pc:docMk/>
      </pc:docMkLst>
      <pc:sldChg chg="modSp">
        <pc:chgData name="Ria Jha" userId="S::ria.jha2026@bitsom.edu.in::8589c87f-6000-4143-bd88-dc2330063ed3" providerId="AD" clId="Web-{96A75177-DE01-8890-7B88-CB6398204C16}" dt="2025-08-31T18:43:17.968" v="0" actId="20577"/>
        <pc:sldMkLst>
          <pc:docMk/>
          <pc:sldMk cId="2234501928" sldId="260"/>
        </pc:sldMkLst>
        <pc:spChg chg="mod">
          <ac:chgData name="Ria Jha" userId="S::ria.jha2026@bitsom.edu.in::8589c87f-6000-4143-bd88-dc2330063ed3" providerId="AD" clId="Web-{96A75177-DE01-8890-7B88-CB6398204C16}" dt="2025-08-31T18:43:17.968" v="0" actId="20577"/>
          <ac:spMkLst>
            <pc:docMk/>
            <pc:sldMk cId="2234501928" sldId="260"/>
            <ac:spMk id="6" creationId="{E8238A5C-3C9A-E732-353A-89473C554383}"/>
          </ac:spMkLst>
        </pc:spChg>
      </pc:sldChg>
    </pc:docChg>
  </pc:docChgLst>
  <pc:docChgLst>
    <pc:chgData name="Riya Arolkar" userId="aeaa9c71-c623-4bd0-b210-cb6ffabcc789" providerId="ADAL" clId="{9CE188AC-687C-4298-B08B-49903B243CD8}"/>
    <pc:docChg chg="undo custSel addSld delSld modSld sldOrd modMainMaster modSection">
      <pc:chgData name="Riya Arolkar" userId="aeaa9c71-c623-4bd0-b210-cb6ffabcc789" providerId="ADAL" clId="{9CE188AC-687C-4298-B08B-49903B243CD8}" dt="2025-08-31T20:20:32.128" v="8202" actId="20577"/>
      <pc:docMkLst>
        <pc:docMk/>
      </pc:docMkLst>
      <pc:sldChg chg="modSp del mod">
        <pc:chgData name="Riya Arolkar" userId="aeaa9c71-c623-4bd0-b210-cb6ffabcc789" providerId="ADAL" clId="{9CE188AC-687C-4298-B08B-49903B243CD8}" dt="2025-08-31T16:31:22.338" v="7051" actId="2696"/>
        <pc:sldMkLst>
          <pc:docMk/>
          <pc:sldMk cId="2251381016" sldId="256"/>
        </pc:sldMkLst>
      </pc:sldChg>
      <pc:sldChg chg="addSp delSp modSp mod">
        <pc:chgData name="Riya Arolkar" userId="aeaa9c71-c623-4bd0-b210-cb6ffabcc789" providerId="ADAL" clId="{9CE188AC-687C-4298-B08B-49903B243CD8}" dt="2025-08-31T20:18:14.056" v="8165" actId="20577"/>
        <pc:sldMkLst>
          <pc:docMk/>
          <pc:sldMk cId="2234501928" sldId="260"/>
        </pc:sldMkLst>
        <pc:spChg chg="add mod ord">
          <ac:chgData name="Riya Arolkar" userId="aeaa9c71-c623-4bd0-b210-cb6ffabcc789" providerId="ADAL" clId="{9CE188AC-687C-4298-B08B-49903B243CD8}" dt="2025-08-31T18:18:45.448" v="7796"/>
          <ac:spMkLst>
            <pc:docMk/>
            <pc:sldMk cId="2234501928" sldId="260"/>
            <ac:spMk id="5" creationId="{9E454FB7-5982-6C59-8C74-DBEAE7490B19}"/>
          </ac:spMkLst>
        </pc:spChg>
        <pc:spChg chg="mod ord">
          <ac:chgData name="Riya Arolkar" userId="aeaa9c71-c623-4bd0-b210-cb6ffabcc789" providerId="ADAL" clId="{9CE188AC-687C-4298-B08B-49903B243CD8}" dt="2025-08-31T20:18:08.726" v="8163" actId="1076"/>
          <ac:spMkLst>
            <pc:docMk/>
            <pc:sldMk cId="2234501928" sldId="260"/>
            <ac:spMk id="6" creationId="{E8238A5C-3C9A-E732-353A-89473C554383}"/>
          </ac:spMkLst>
        </pc:spChg>
        <pc:spChg chg="add mod ord">
          <ac:chgData name="Riya Arolkar" userId="aeaa9c71-c623-4bd0-b210-cb6ffabcc789" providerId="ADAL" clId="{9CE188AC-687C-4298-B08B-49903B243CD8}" dt="2025-08-31T18:19:52.828" v="7823" actId="255"/>
          <ac:spMkLst>
            <pc:docMk/>
            <pc:sldMk cId="2234501928" sldId="260"/>
            <ac:spMk id="20" creationId="{64E17D85-6657-991F-859C-AD04B8A09D4F}"/>
          </ac:spMkLst>
        </pc:spChg>
        <pc:spChg chg="add mod ord">
          <ac:chgData name="Riya Arolkar" userId="aeaa9c71-c623-4bd0-b210-cb6ffabcc789" providerId="ADAL" clId="{9CE188AC-687C-4298-B08B-49903B243CD8}" dt="2025-08-31T20:18:14.056" v="8165" actId="20577"/>
          <ac:spMkLst>
            <pc:docMk/>
            <pc:sldMk cId="2234501928" sldId="260"/>
            <ac:spMk id="21" creationId="{C8531C89-F18B-036A-664E-ABAEDB601839}"/>
          </ac:spMkLst>
        </pc:spChg>
        <pc:spChg chg="add mod">
          <ac:chgData name="Riya Arolkar" userId="aeaa9c71-c623-4bd0-b210-cb6ffabcc789" providerId="ADAL" clId="{9CE188AC-687C-4298-B08B-49903B243CD8}" dt="2025-08-31T18:29:12.891" v="7934" actId="2085"/>
          <ac:spMkLst>
            <pc:docMk/>
            <pc:sldMk cId="2234501928" sldId="260"/>
            <ac:spMk id="31" creationId="{FF8D98EA-E9D5-7B1A-75F9-84C6D2B11B57}"/>
          </ac:spMkLst>
        </pc:spChg>
        <pc:spChg chg="add mod">
          <ac:chgData name="Riya Arolkar" userId="aeaa9c71-c623-4bd0-b210-cb6ffabcc789" providerId="ADAL" clId="{9CE188AC-687C-4298-B08B-49903B243CD8}" dt="2025-08-31T19:00:10.048" v="7975" actId="1076"/>
          <ac:spMkLst>
            <pc:docMk/>
            <pc:sldMk cId="2234501928" sldId="260"/>
            <ac:spMk id="32" creationId="{7FF10233-32A7-6ED6-146B-143FDD4550B5}"/>
          </ac:spMkLst>
        </pc:spChg>
        <pc:spChg chg="add mod">
          <ac:chgData name="Riya Arolkar" userId="aeaa9c71-c623-4bd0-b210-cb6ffabcc789" providerId="ADAL" clId="{9CE188AC-687C-4298-B08B-49903B243CD8}" dt="2025-08-31T18:29:56.097" v="7963" actId="20577"/>
          <ac:spMkLst>
            <pc:docMk/>
            <pc:sldMk cId="2234501928" sldId="260"/>
            <ac:spMk id="33" creationId="{9DBDD1A7-A4F0-0202-5EA1-2030F3AF4BBE}"/>
          </ac:spMkLst>
        </pc:spChg>
        <pc:graphicFrameChg chg="add mod ord modVis">
          <ac:chgData name="Riya Arolkar" userId="aeaa9c71-c623-4bd0-b210-cb6ffabcc789" providerId="ADAL" clId="{9CE188AC-687C-4298-B08B-49903B243CD8}" dt="2025-08-31T18:18:45.583" v="7816"/>
          <ac:graphicFrameMkLst>
            <pc:docMk/>
            <pc:sldMk cId="2234501928" sldId="260"/>
            <ac:graphicFrameMk id="22" creationId="{8C0E1EA9-6323-AA2E-658C-776C6B620353}"/>
          </ac:graphicFrameMkLst>
        </pc:graphicFrameChg>
        <pc:picChg chg="mod ord">
          <ac:chgData name="Riya Arolkar" userId="aeaa9c71-c623-4bd0-b210-cb6ffabcc789" providerId="ADAL" clId="{9CE188AC-687C-4298-B08B-49903B243CD8}" dt="2025-08-31T18:18:45.431" v="7784"/>
          <ac:picMkLst>
            <pc:docMk/>
            <pc:sldMk cId="2234501928" sldId="260"/>
            <ac:picMk id="2" creationId="{1ED3067B-70E7-E46F-539D-25446A4756A8}"/>
          </ac:picMkLst>
        </pc:picChg>
        <pc:picChg chg="add mod ord">
          <ac:chgData name="Riya Arolkar" userId="aeaa9c71-c623-4bd0-b210-cb6ffabcc789" providerId="ADAL" clId="{9CE188AC-687C-4298-B08B-49903B243CD8}" dt="2025-08-31T18:27:16.387" v="7895" actId="1076"/>
          <ac:picMkLst>
            <pc:docMk/>
            <pc:sldMk cId="2234501928" sldId="260"/>
            <ac:picMk id="17" creationId="{FB7E20A3-5453-771D-FA79-9A13B61589D3}"/>
          </ac:picMkLst>
        </pc:picChg>
        <pc:picChg chg="add mod">
          <ac:chgData name="Riya Arolkar" userId="aeaa9c71-c623-4bd0-b210-cb6ffabcc789" providerId="ADAL" clId="{9CE188AC-687C-4298-B08B-49903B243CD8}" dt="2025-08-31T18:27:39.788" v="7902" actId="1076"/>
          <ac:picMkLst>
            <pc:docMk/>
            <pc:sldMk cId="2234501928" sldId="260"/>
            <ac:picMk id="24" creationId="{75E6DBD6-CE0A-9E67-146D-CAA984EEAA1D}"/>
          </ac:picMkLst>
        </pc:picChg>
        <pc:picChg chg="add mod">
          <ac:chgData name="Riya Arolkar" userId="aeaa9c71-c623-4bd0-b210-cb6ffabcc789" providerId="ADAL" clId="{9CE188AC-687C-4298-B08B-49903B243CD8}" dt="2025-08-31T18:28:04.049" v="7910" actId="1076"/>
          <ac:picMkLst>
            <pc:docMk/>
            <pc:sldMk cId="2234501928" sldId="260"/>
            <ac:picMk id="28" creationId="{8965175A-0EE2-FF9E-3AB3-E7F50FBFA797}"/>
          </ac:picMkLst>
        </pc:picChg>
        <pc:picChg chg="add mod">
          <ac:chgData name="Riya Arolkar" userId="aeaa9c71-c623-4bd0-b210-cb6ffabcc789" providerId="ADAL" clId="{9CE188AC-687C-4298-B08B-49903B243CD8}" dt="2025-08-31T18:27:28.774" v="7897" actId="1076"/>
          <ac:picMkLst>
            <pc:docMk/>
            <pc:sldMk cId="2234501928" sldId="260"/>
            <ac:picMk id="2050" creationId="{901F93B8-BB8E-66D9-CFE0-1B4BC17830AA}"/>
          </ac:picMkLst>
        </pc:picChg>
        <pc:picChg chg="add mod">
          <ac:chgData name="Riya Arolkar" userId="aeaa9c71-c623-4bd0-b210-cb6ffabcc789" providerId="ADAL" clId="{9CE188AC-687C-4298-B08B-49903B243CD8}" dt="2025-08-31T18:30:05.070" v="7964" actId="1076"/>
          <ac:picMkLst>
            <pc:docMk/>
            <pc:sldMk cId="2234501928" sldId="260"/>
            <ac:picMk id="2052" creationId="{990B2927-74F3-4039-7622-04C56F42CBD9}"/>
          </ac:picMkLst>
        </pc:picChg>
        <pc:cxnChg chg="mod ord">
          <ac:chgData name="Riya Arolkar" userId="aeaa9c71-c623-4bd0-b210-cb6ffabcc789" providerId="ADAL" clId="{9CE188AC-687C-4298-B08B-49903B243CD8}" dt="2025-08-31T18:18:45.441" v="7794"/>
          <ac:cxnSpMkLst>
            <pc:docMk/>
            <pc:sldMk cId="2234501928" sldId="260"/>
            <ac:cxnSpMk id="10" creationId="{9CE8D8C9-8832-C78E-1F63-A3944099A3FF}"/>
          </ac:cxnSpMkLst>
        </pc:cxnChg>
      </pc:sldChg>
      <pc:sldChg chg="modSp mod">
        <pc:chgData name="Riya Arolkar" userId="aeaa9c71-c623-4bd0-b210-cb6ffabcc789" providerId="ADAL" clId="{9CE188AC-687C-4298-B08B-49903B243CD8}" dt="2025-08-31T15:41:44.110" v="6911" actId="14100"/>
        <pc:sldMkLst>
          <pc:docMk/>
          <pc:sldMk cId="1920365695" sldId="261"/>
        </pc:sldMkLst>
        <pc:picChg chg="mod">
          <ac:chgData name="Riya Arolkar" userId="aeaa9c71-c623-4bd0-b210-cb6ffabcc789" providerId="ADAL" clId="{9CE188AC-687C-4298-B08B-49903B243CD8}" dt="2025-08-31T15:41:44.110" v="6911" actId="14100"/>
          <ac:picMkLst>
            <pc:docMk/>
            <pc:sldMk cId="1920365695" sldId="261"/>
            <ac:picMk id="121" creationId="{5B253A97-BB96-844A-2B5D-E3B74C833F73}"/>
          </ac:picMkLst>
        </pc:picChg>
      </pc:sldChg>
      <pc:sldChg chg="addSp delSp modSp mod">
        <pc:chgData name="Riya Arolkar" userId="aeaa9c71-c623-4bd0-b210-cb6ffabcc789" providerId="ADAL" clId="{9CE188AC-687C-4298-B08B-49903B243CD8}" dt="2025-08-31T20:20:32.128" v="8202" actId="20577"/>
        <pc:sldMkLst>
          <pc:docMk/>
          <pc:sldMk cId="848436090" sldId="264"/>
        </pc:sldMkLst>
        <pc:spChg chg="add mod">
          <ac:chgData name="Riya Arolkar" userId="aeaa9c71-c623-4bd0-b210-cb6ffabcc789" providerId="ADAL" clId="{9CE188AC-687C-4298-B08B-49903B243CD8}" dt="2025-08-31T16:08:04.886" v="6953"/>
          <ac:spMkLst>
            <pc:docMk/>
            <pc:sldMk cId="848436090" sldId="264"/>
            <ac:spMk id="4" creationId="{D21B59A8-AA77-61D7-9BA8-6A88C0A93C88}"/>
          </ac:spMkLst>
        </pc:spChg>
        <pc:spChg chg="add mod">
          <ac:chgData name="Riya Arolkar" userId="aeaa9c71-c623-4bd0-b210-cb6ffabcc789" providerId="ADAL" clId="{9CE188AC-687C-4298-B08B-49903B243CD8}" dt="2025-08-31T16:08:04.886" v="6953"/>
          <ac:spMkLst>
            <pc:docMk/>
            <pc:sldMk cId="848436090" sldId="264"/>
            <ac:spMk id="5" creationId="{7F0A1AC6-1F1F-2BC4-17A1-F63353E8B204}"/>
          </ac:spMkLst>
        </pc:spChg>
        <pc:spChg chg="add mod">
          <ac:chgData name="Riya Arolkar" userId="aeaa9c71-c623-4bd0-b210-cb6ffabcc789" providerId="ADAL" clId="{9CE188AC-687C-4298-B08B-49903B243CD8}" dt="2025-08-31T20:20:32.128" v="8202" actId="20577"/>
          <ac:spMkLst>
            <pc:docMk/>
            <pc:sldMk cId="848436090" sldId="264"/>
            <ac:spMk id="12" creationId="{1507033D-4BF8-6280-C730-27F0CD10E9C7}"/>
          </ac:spMkLst>
        </pc:spChg>
        <pc:spChg chg="add mod">
          <ac:chgData name="Riya Arolkar" userId="aeaa9c71-c623-4bd0-b210-cb6ffabcc789" providerId="ADAL" clId="{9CE188AC-687C-4298-B08B-49903B243CD8}" dt="2025-08-31T16:08:04.886" v="6953"/>
          <ac:spMkLst>
            <pc:docMk/>
            <pc:sldMk cId="848436090" sldId="264"/>
            <ac:spMk id="13" creationId="{70A6B0DB-095A-3725-7417-4B5209FDF5F8}"/>
          </ac:spMkLst>
        </pc:spChg>
        <pc:spChg chg="add mod">
          <ac:chgData name="Riya Arolkar" userId="aeaa9c71-c623-4bd0-b210-cb6ffabcc789" providerId="ADAL" clId="{9CE188AC-687C-4298-B08B-49903B243CD8}" dt="2025-08-31T16:08:04.886" v="6953"/>
          <ac:spMkLst>
            <pc:docMk/>
            <pc:sldMk cId="848436090" sldId="264"/>
            <ac:spMk id="14" creationId="{58DB9D27-9CC8-FB26-98CF-7942E35A16D3}"/>
          </ac:spMkLst>
        </pc:spChg>
        <pc:spChg chg="mod">
          <ac:chgData name="Riya Arolkar" userId="aeaa9c71-c623-4bd0-b210-cb6ffabcc789" providerId="ADAL" clId="{9CE188AC-687C-4298-B08B-49903B243CD8}" dt="2025-08-31T16:02:19.066" v="6939" actId="20577"/>
          <ac:spMkLst>
            <pc:docMk/>
            <pc:sldMk cId="848436090" sldId="264"/>
            <ac:spMk id="59" creationId="{68BC98B3-B983-82CB-B2FF-9F787FEB33E0}"/>
          </ac:spMkLst>
        </pc:spChg>
      </pc:sldChg>
      <pc:sldChg chg="addSp delSp modSp del mod ord setBg modShow">
        <pc:chgData name="Riya Arolkar" userId="aeaa9c71-c623-4bd0-b210-cb6ffabcc789" providerId="ADAL" clId="{9CE188AC-687C-4298-B08B-49903B243CD8}" dt="2025-08-31T18:36:28.396" v="7966" actId="2696"/>
        <pc:sldMkLst>
          <pc:docMk/>
          <pc:sldMk cId="2451315773" sldId="266"/>
        </pc:sldMkLst>
      </pc:sldChg>
      <pc:sldChg chg="addSp delSp modSp add del mod modTransition">
        <pc:chgData name="Riya Arolkar" userId="aeaa9c71-c623-4bd0-b210-cb6ffabcc789" providerId="ADAL" clId="{9CE188AC-687C-4298-B08B-49903B243CD8}" dt="2025-08-31T10:06:43.334" v="1501" actId="2696"/>
        <pc:sldMkLst>
          <pc:docMk/>
          <pc:sldMk cId="2223107673" sldId="267"/>
        </pc:sldMkLst>
      </pc:sldChg>
      <pc:sldChg chg="add del">
        <pc:chgData name="Riya Arolkar" userId="aeaa9c71-c623-4bd0-b210-cb6ffabcc789" providerId="ADAL" clId="{9CE188AC-687C-4298-B08B-49903B243CD8}" dt="2025-08-31T10:45:13.621" v="1590" actId="2696"/>
        <pc:sldMkLst>
          <pc:docMk/>
          <pc:sldMk cId="2825452890" sldId="2147473037"/>
        </pc:sldMkLst>
      </pc:sldChg>
      <pc:sldChg chg="modSp add del">
        <pc:chgData name="Riya Arolkar" userId="aeaa9c71-c623-4bd0-b210-cb6ffabcc789" providerId="ADAL" clId="{9CE188AC-687C-4298-B08B-49903B243CD8}" dt="2025-08-31T10:51:46.804" v="1735" actId="2696"/>
        <pc:sldMkLst>
          <pc:docMk/>
          <pc:sldMk cId="1349856505" sldId="2147473038"/>
        </pc:sldMkLst>
      </pc:sldChg>
      <pc:sldChg chg="addSp delSp modSp add del mod ord">
        <pc:chgData name="Riya Arolkar" userId="aeaa9c71-c623-4bd0-b210-cb6ffabcc789" providerId="ADAL" clId="{9CE188AC-687C-4298-B08B-49903B243CD8}" dt="2025-08-31T11:49:32.706" v="4771" actId="2696"/>
        <pc:sldMkLst>
          <pc:docMk/>
          <pc:sldMk cId="2702075283" sldId="2147473052"/>
        </pc:sldMkLst>
      </pc:sldChg>
      <pc:sldChg chg="addSp delSp modSp add del mod ord">
        <pc:chgData name="Riya Arolkar" userId="aeaa9c71-c623-4bd0-b210-cb6ffabcc789" providerId="ADAL" clId="{9CE188AC-687C-4298-B08B-49903B243CD8}" dt="2025-08-31T15:55:00.492" v="6922" actId="2696"/>
        <pc:sldMkLst>
          <pc:docMk/>
          <pc:sldMk cId="1184483743" sldId="2147473056"/>
        </pc:sldMkLst>
      </pc:sldChg>
      <pc:sldChg chg="addSp modSp mod">
        <pc:chgData name="Riya Arolkar" userId="aeaa9c71-c623-4bd0-b210-cb6ffabcc789" providerId="ADAL" clId="{9CE188AC-687C-4298-B08B-49903B243CD8}" dt="2025-08-31T20:20:19.336" v="8200" actId="20577"/>
        <pc:sldMkLst>
          <pc:docMk/>
          <pc:sldMk cId="256415640" sldId="2147473057"/>
        </pc:sldMkLst>
        <pc:spChg chg="add mod">
          <ac:chgData name="Riya Arolkar" userId="aeaa9c71-c623-4bd0-b210-cb6ffabcc789" providerId="ADAL" clId="{9CE188AC-687C-4298-B08B-49903B243CD8}" dt="2025-08-31T17:44:24.402" v="7686" actId="207"/>
          <ac:spMkLst>
            <pc:docMk/>
            <pc:sldMk cId="256415640" sldId="2147473057"/>
            <ac:spMk id="6" creationId="{FE9A16C7-894B-CF50-B644-2BC13FC8DE59}"/>
          </ac:spMkLst>
        </pc:spChg>
        <pc:spChg chg="add mod">
          <ac:chgData name="Riya Arolkar" userId="aeaa9c71-c623-4bd0-b210-cb6ffabcc789" providerId="ADAL" clId="{9CE188AC-687C-4298-B08B-49903B243CD8}" dt="2025-08-31T17:44:24.402" v="7686" actId="207"/>
          <ac:spMkLst>
            <pc:docMk/>
            <pc:sldMk cId="256415640" sldId="2147473057"/>
            <ac:spMk id="8" creationId="{20A2FE23-BD26-4334-4D89-D12FBF813426}"/>
          </ac:spMkLst>
        </pc:spChg>
        <pc:spChg chg="add mod">
          <ac:chgData name="Riya Arolkar" userId="aeaa9c71-c623-4bd0-b210-cb6ffabcc789" providerId="ADAL" clId="{9CE188AC-687C-4298-B08B-49903B243CD8}" dt="2025-08-31T20:20:19.336" v="8200" actId="20577"/>
          <ac:spMkLst>
            <pc:docMk/>
            <pc:sldMk cId="256415640" sldId="2147473057"/>
            <ac:spMk id="10" creationId="{35211C58-63DF-77B6-4DF4-42F99B8945F2}"/>
          </ac:spMkLst>
        </pc:spChg>
        <pc:spChg chg="add mod">
          <ac:chgData name="Riya Arolkar" userId="aeaa9c71-c623-4bd0-b210-cb6ffabcc789" providerId="ADAL" clId="{9CE188AC-687C-4298-B08B-49903B243CD8}" dt="2025-08-31T17:44:58.094" v="7729" actId="20577"/>
          <ac:spMkLst>
            <pc:docMk/>
            <pc:sldMk cId="256415640" sldId="2147473057"/>
            <ac:spMk id="12" creationId="{4F1CFC41-F69A-CD5D-FD5E-5F8398888DAC}"/>
          </ac:spMkLst>
        </pc:spChg>
        <pc:spChg chg="add mod">
          <ac:chgData name="Riya Arolkar" userId="aeaa9c71-c623-4bd0-b210-cb6ffabcc789" providerId="ADAL" clId="{9CE188AC-687C-4298-B08B-49903B243CD8}" dt="2025-08-31T17:45:28.842" v="7773" actId="20577"/>
          <ac:spMkLst>
            <pc:docMk/>
            <pc:sldMk cId="256415640" sldId="2147473057"/>
            <ac:spMk id="14" creationId="{908D5BDA-8D84-FE6D-59EC-1FDD413328AC}"/>
          </ac:spMkLst>
        </pc:spChg>
      </pc:sldChg>
      <pc:sldChg chg="add del">
        <pc:chgData name="Riya Arolkar" userId="aeaa9c71-c623-4bd0-b210-cb6ffabcc789" providerId="ADAL" clId="{9CE188AC-687C-4298-B08B-49903B243CD8}" dt="2025-08-31T11:46:58.763" v="2607" actId="2696"/>
        <pc:sldMkLst>
          <pc:docMk/>
          <pc:sldMk cId="1863346468" sldId="2147473057"/>
        </pc:sldMkLst>
      </pc:sldChg>
      <pc:sldChg chg="add del">
        <pc:chgData name="Riya Arolkar" userId="aeaa9c71-c623-4bd0-b210-cb6ffabcc789" providerId="ADAL" clId="{9CE188AC-687C-4298-B08B-49903B243CD8}" dt="2025-08-31T11:49:17.776" v="4488" actId="2696"/>
        <pc:sldMkLst>
          <pc:docMk/>
          <pc:sldMk cId="3127211440" sldId="2147473057"/>
        </pc:sldMkLst>
      </pc:sldChg>
      <pc:sldChg chg="addSp delSp modSp add mod">
        <pc:chgData name="Riya Arolkar" userId="aeaa9c71-c623-4bd0-b210-cb6ffabcc789" providerId="ADAL" clId="{9CE188AC-687C-4298-B08B-49903B243CD8}" dt="2025-08-31T20:20:24.076" v="8201" actId="20577"/>
        <pc:sldMkLst>
          <pc:docMk/>
          <pc:sldMk cId="1492403551" sldId="2147473058"/>
        </pc:sldMkLst>
        <pc:spChg chg="mod">
          <ac:chgData name="Riya Arolkar" userId="aeaa9c71-c623-4bd0-b210-cb6ffabcc789" providerId="ADAL" clId="{9CE188AC-687C-4298-B08B-49903B243CD8}" dt="2025-08-31T16:22:28.112" v="7013" actId="1076"/>
          <ac:spMkLst>
            <pc:docMk/>
            <pc:sldMk cId="1492403551" sldId="2147473058"/>
            <ac:spMk id="3" creationId="{78A295DC-4CF1-4DBD-185A-8F0F9C85832E}"/>
          </ac:spMkLst>
        </pc:spChg>
        <pc:spChg chg="mod">
          <ac:chgData name="Riya Arolkar" userId="aeaa9c71-c623-4bd0-b210-cb6ffabcc789" providerId="ADAL" clId="{9CE188AC-687C-4298-B08B-49903B243CD8}" dt="2025-08-31T16:05:59.416" v="6950" actId="207"/>
          <ac:spMkLst>
            <pc:docMk/>
            <pc:sldMk cId="1492403551" sldId="2147473058"/>
            <ac:spMk id="4" creationId="{76E2F974-859C-A1AC-B8B6-5C3A6E8F990D}"/>
          </ac:spMkLst>
        </pc:spChg>
        <pc:spChg chg="mod">
          <ac:chgData name="Riya Arolkar" userId="aeaa9c71-c623-4bd0-b210-cb6ffabcc789" providerId="ADAL" clId="{9CE188AC-687C-4298-B08B-49903B243CD8}" dt="2025-08-31T16:06:28.051" v="6952" actId="1076"/>
          <ac:spMkLst>
            <pc:docMk/>
            <pc:sldMk cId="1492403551" sldId="2147473058"/>
            <ac:spMk id="5" creationId="{7032C97A-2E61-0541-4017-EBC5E3008C98}"/>
          </ac:spMkLst>
        </pc:spChg>
        <pc:spChg chg="mod">
          <ac:chgData name="Riya Arolkar" userId="aeaa9c71-c623-4bd0-b210-cb6ffabcc789" providerId="ADAL" clId="{9CE188AC-687C-4298-B08B-49903B243CD8}" dt="2025-08-31T16:15:34.240" v="6962" actId="1076"/>
          <ac:spMkLst>
            <pc:docMk/>
            <pc:sldMk cId="1492403551" sldId="2147473058"/>
            <ac:spMk id="12" creationId="{B864556C-4BB0-04C1-047E-B23F7CA08C6D}"/>
          </ac:spMkLst>
        </pc:spChg>
        <pc:spChg chg="mod">
          <ac:chgData name="Riya Arolkar" userId="aeaa9c71-c623-4bd0-b210-cb6ffabcc789" providerId="ADAL" clId="{9CE188AC-687C-4298-B08B-49903B243CD8}" dt="2025-08-31T20:20:24.076" v="8201" actId="20577"/>
          <ac:spMkLst>
            <pc:docMk/>
            <pc:sldMk cId="1492403551" sldId="2147473058"/>
            <ac:spMk id="13" creationId="{AC79C16E-90BB-C62C-52BA-CEAF38C8A6EB}"/>
          </ac:spMkLst>
        </pc:spChg>
        <pc:spChg chg="mod">
          <ac:chgData name="Riya Arolkar" userId="aeaa9c71-c623-4bd0-b210-cb6ffabcc789" providerId="ADAL" clId="{9CE188AC-687C-4298-B08B-49903B243CD8}" dt="2025-08-31T18:59:27.288" v="7972" actId="207"/>
          <ac:spMkLst>
            <pc:docMk/>
            <pc:sldMk cId="1492403551" sldId="2147473058"/>
            <ac:spMk id="14" creationId="{12F85209-13EF-B5DC-02A0-F1664D002152}"/>
          </ac:spMkLst>
        </pc:spChg>
        <pc:spChg chg="mod">
          <ac:chgData name="Riya Arolkar" userId="aeaa9c71-c623-4bd0-b210-cb6ffabcc789" providerId="ADAL" clId="{9CE188AC-687C-4298-B08B-49903B243CD8}" dt="2025-08-31T18:59:43.650" v="7974" actId="207"/>
          <ac:spMkLst>
            <pc:docMk/>
            <pc:sldMk cId="1492403551" sldId="2147473058"/>
            <ac:spMk id="15" creationId="{5CF08868-0EA8-D107-DE39-E1000BF40B5D}"/>
          </ac:spMkLst>
        </pc:spChg>
        <pc:spChg chg="mod">
          <ac:chgData name="Riya Arolkar" userId="aeaa9c71-c623-4bd0-b210-cb6ffabcc789" providerId="ADAL" clId="{9CE188AC-687C-4298-B08B-49903B243CD8}" dt="2025-08-31T16:19:02.140" v="7000" actId="1076"/>
          <ac:spMkLst>
            <pc:docMk/>
            <pc:sldMk cId="1492403551" sldId="2147473058"/>
            <ac:spMk id="18" creationId="{2F917294-989F-BBF0-F1AA-6D43B54E4959}"/>
          </ac:spMkLst>
        </pc:spChg>
        <pc:spChg chg="mod">
          <ac:chgData name="Riya Arolkar" userId="aeaa9c71-c623-4bd0-b210-cb6ffabcc789" providerId="ADAL" clId="{9CE188AC-687C-4298-B08B-49903B243CD8}" dt="2025-08-31T20:14:42.708" v="8155" actId="1076"/>
          <ac:spMkLst>
            <pc:docMk/>
            <pc:sldMk cId="1492403551" sldId="2147473058"/>
            <ac:spMk id="23" creationId="{CD694CF3-703C-1CA7-B7D2-CE431C51A9E3}"/>
          </ac:spMkLst>
        </pc:spChg>
        <pc:spChg chg="add mod">
          <ac:chgData name="Riya Arolkar" userId="aeaa9c71-c623-4bd0-b210-cb6ffabcc789" providerId="ADAL" clId="{9CE188AC-687C-4298-B08B-49903B243CD8}" dt="2025-08-31T16:28:22.812" v="7042" actId="14100"/>
          <ac:spMkLst>
            <pc:docMk/>
            <pc:sldMk cId="1492403551" sldId="2147473058"/>
            <ac:spMk id="25" creationId="{2D22F02B-0BF0-34C1-2538-D17A5F431A4B}"/>
          </ac:spMkLst>
        </pc:spChg>
        <pc:spChg chg="mod">
          <ac:chgData name="Riya Arolkar" userId="aeaa9c71-c623-4bd0-b210-cb6ffabcc789" providerId="ADAL" clId="{9CE188AC-687C-4298-B08B-49903B243CD8}" dt="2025-08-31T20:14:23.479" v="8150" actId="1076"/>
          <ac:spMkLst>
            <pc:docMk/>
            <pc:sldMk cId="1492403551" sldId="2147473058"/>
            <ac:spMk id="27" creationId="{EE18ABD9-3627-5301-49B1-0094A318AA3F}"/>
          </ac:spMkLst>
        </pc:spChg>
        <pc:spChg chg="mod">
          <ac:chgData name="Riya Arolkar" userId="aeaa9c71-c623-4bd0-b210-cb6ffabcc789" providerId="ADAL" clId="{9CE188AC-687C-4298-B08B-49903B243CD8}" dt="2025-08-31T16:16:18.872" v="6971" actId="1076"/>
          <ac:spMkLst>
            <pc:docMk/>
            <pc:sldMk cId="1492403551" sldId="2147473058"/>
            <ac:spMk id="29" creationId="{CFC1D5D9-223D-0231-4AE8-5C41F4212554}"/>
          </ac:spMkLst>
        </pc:spChg>
        <pc:spChg chg="mod">
          <ac:chgData name="Riya Arolkar" userId="aeaa9c71-c623-4bd0-b210-cb6ffabcc789" providerId="ADAL" clId="{9CE188AC-687C-4298-B08B-49903B243CD8}" dt="2025-08-31T16:16:43.570" v="6975" actId="1076"/>
          <ac:spMkLst>
            <pc:docMk/>
            <pc:sldMk cId="1492403551" sldId="2147473058"/>
            <ac:spMk id="30" creationId="{96B205C0-8CDD-26FD-4A9E-55BB36FAC2F4}"/>
          </ac:spMkLst>
        </pc:spChg>
        <pc:spChg chg="mod">
          <ac:chgData name="Riya Arolkar" userId="aeaa9c71-c623-4bd0-b210-cb6ffabcc789" providerId="ADAL" clId="{9CE188AC-687C-4298-B08B-49903B243CD8}" dt="2025-08-31T16:16:24.270" v="6972" actId="1076"/>
          <ac:spMkLst>
            <pc:docMk/>
            <pc:sldMk cId="1492403551" sldId="2147473058"/>
            <ac:spMk id="31" creationId="{9B17DE4D-189C-15EE-91DA-91B7EAE1A412}"/>
          </ac:spMkLst>
        </pc:spChg>
        <pc:spChg chg="mod">
          <ac:chgData name="Riya Arolkar" userId="aeaa9c71-c623-4bd0-b210-cb6ffabcc789" providerId="ADAL" clId="{9CE188AC-687C-4298-B08B-49903B243CD8}" dt="2025-08-31T16:28:17.267" v="7041" actId="14100"/>
          <ac:spMkLst>
            <pc:docMk/>
            <pc:sldMk cId="1492403551" sldId="2147473058"/>
            <ac:spMk id="42" creationId="{1FBB32DD-E7B7-7A87-819A-0B3815B91796}"/>
          </ac:spMkLst>
        </pc:spChg>
        <pc:spChg chg="add mod">
          <ac:chgData name="Riya Arolkar" userId="aeaa9c71-c623-4bd0-b210-cb6ffabcc789" providerId="ADAL" clId="{9CE188AC-687C-4298-B08B-49903B243CD8}" dt="2025-08-31T20:12:04.566" v="8140" actId="20577"/>
          <ac:spMkLst>
            <pc:docMk/>
            <pc:sldMk cId="1492403551" sldId="2147473058"/>
            <ac:spMk id="48" creationId="{CCCFB764-3D7E-2BC1-74F9-BD85F78F33AA}"/>
          </ac:spMkLst>
        </pc:spChg>
        <pc:spChg chg="add mod">
          <ac:chgData name="Riya Arolkar" userId="aeaa9c71-c623-4bd0-b210-cb6ffabcc789" providerId="ADAL" clId="{9CE188AC-687C-4298-B08B-49903B243CD8}" dt="2025-08-31T17:08:35.940" v="7321" actId="1076"/>
          <ac:spMkLst>
            <pc:docMk/>
            <pc:sldMk cId="1492403551" sldId="2147473058"/>
            <ac:spMk id="49" creationId="{23D00C1D-B1DE-BA73-FFAA-798222F4EA45}"/>
          </ac:spMkLst>
        </pc:spChg>
        <pc:spChg chg="add mod">
          <ac:chgData name="Riya Arolkar" userId="aeaa9c71-c623-4bd0-b210-cb6ffabcc789" providerId="ADAL" clId="{9CE188AC-687C-4298-B08B-49903B243CD8}" dt="2025-08-31T17:12:25.595" v="7418" actId="1076"/>
          <ac:spMkLst>
            <pc:docMk/>
            <pc:sldMk cId="1492403551" sldId="2147473058"/>
            <ac:spMk id="51" creationId="{BF4C5A1F-59CC-3851-AA34-FE7C24F9E4F1}"/>
          </ac:spMkLst>
        </pc:spChg>
        <pc:spChg chg="add mod">
          <ac:chgData name="Riya Arolkar" userId="aeaa9c71-c623-4bd0-b210-cb6ffabcc789" providerId="ADAL" clId="{9CE188AC-687C-4298-B08B-49903B243CD8}" dt="2025-08-31T17:11:16.471" v="7388" actId="1076"/>
          <ac:spMkLst>
            <pc:docMk/>
            <pc:sldMk cId="1492403551" sldId="2147473058"/>
            <ac:spMk id="52" creationId="{E4ACB9FD-5034-BF26-2F68-3C27BA668533}"/>
          </ac:spMkLst>
        </pc:spChg>
        <pc:spChg chg="add mod">
          <ac:chgData name="Riya Arolkar" userId="aeaa9c71-c623-4bd0-b210-cb6ffabcc789" providerId="ADAL" clId="{9CE188AC-687C-4298-B08B-49903B243CD8}" dt="2025-08-31T17:14:45.037" v="7487" actId="1076"/>
          <ac:spMkLst>
            <pc:docMk/>
            <pc:sldMk cId="1492403551" sldId="2147473058"/>
            <ac:spMk id="53" creationId="{BC32F280-E2FD-D409-6EED-0511AC2A470D}"/>
          </ac:spMkLst>
        </pc:spChg>
        <pc:spChg chg="add mod">
          <ac:chgData name="Riya Arolkar" userId="aeaa9c71-c623-4bd0-b210-cb6ffabcc789" providerId="ADAL" clId="{9CE188AC-687C-4298-B08B-49903B243CD8}" dt="2025-08-31T17:14:27.731" v="7483" actId="1076"/>
          <ac:spMkLst>
            <pc:docMk/>
            <pc:sldMk cId="1492403551" sldId="2147473058"/>
            <ac:spMk id="55" creationId="{7560A58D-9C5A-9004-ED7B-B8F0C535B604}"/>
          </ac:spMkLst>
        </pc:spChg>
        <pc:spChg chg="add mod">
          <ac:chgData name="Riya Arolkar" userId="aeaa9c71-c623-4bd0-b210-cb6ffabcc789" providerId="ADAL" clId="{9CE188AC-687C-4298-B08B-49903B243CD8}" dt="2025-08-31T17:14:35.211" v="7484" actId="1076"/>
          <ac:spMkLst>
            <pc:docMk/>
            <pc:sldMk cId="1492403551" sldId="2147473058"/>
            <ac:spMk id="61" creationId="{A217769E-79C8-869A-63A2-08DA2EB17157}"/>
          </ac:spMkLst>
        </pc:spChg>
        <pc:spChg chg="add mod">
          <ac:chgData name="Riya Arolkar" userId="aeaa9c71-c623-4bd0-b210-cb6ffabcc789" providerId="ADAL" clId="{9CE188AC-687C-4298-B08B-49903B243CD8}" dt="2025-08-31T17:15:23.688" v="7513" actId="1076"/>
          <ac:spMkLst>
            <pc:docMk/>
            <pc:sldMk cId="1492403551" sldId="2147473058"/>
            <ac:spMk id="63" creationId="{8EDDA7E5-0524-861C-82DA-52C95236D4B0}"/>
          </ac:spMkLst>
        </pc:spChg>
        <pc:spChg chg="add mod">
          <ac:chgData name="Riya Arolkar" userId="aeaa9c71-c623-4bd0-b210-cb6ffabcc789" providerId="ADAL" clId="{9CE188AC-687C-4298-B08B-49903B243CD8}" dt="2025-08-31T17:39:58.928" v="7671" actId="1076"/>
          <ac:spMkLst>
            <pc:docMk/>
            <pc:sldMk cId="1492403551" sldId="2147473058"/>
            <ac:spMk id="1024" creationId="{0A98C5B3-D813-2831-E7D3-A8C524701087}"/>
          </ac:spMkLst>
        </pc:spChg>
        <pc:spChg chg="add mod">
          <ac:chgData name="Riya Arolkar" userId="aeaa9c71-c623-4bd0-b210-cb6ffabcc789" providerId="ADAL" clId="{9CE188AC-687C-4298-B08B-49903B243CD8}" dt="2025-08-31T17:40:16.877" v="7674" actId="14100"/>
          <ac:spMkLst>
            <pc:docMk/>
            <pc:sldMk cId="1492403551" sldId="2147473058"/>
            <ac:spMk id="1025" creationId="{8C118383-F2D8-A5C5-14BB-38F2772491A0}"/>
          </ac:spMkLst>
        </pc:spChg>
        <pc:spChg chg="add mod">
          <ac:chgData name="Riya Arolkar" userId="aeaa9c71-c623-4bd0-b210-cb6ffabcc789" providerId="ADAL" clId="{9CE188AC-687C-4298-B08B-49903B243CD8}" dt="2025-08-31T17:40:09.708" v="7673" actId="14100"/>
          <ac:spMkLst>
            <pc:docMk/>
            <pc:sldMk cId="1492403551" sldId="2147473058"/>
            <ac:spMk id="1026" creationId="{044BDB42-DB8E-3C4C-3673-FF08A0CB87BB}"/>
          </ac:spMkLst>
        </pc:spChg>
        <pc:spChg chg="add mod">
          <ac:chgData name="Riya Arolkar" userId="aeaa9c71-c623-4bd0-b210-cb6ffabcc789" providerId="ADAL" clId="{9CE188AC-687C-4298-B08B-49903B243CD8}" dt="2025-08-31T17:40:53.676" v="7681" actId="14100"/>
          <ac:spMkLst>
            <pc:docMk/>
            <pc:sldMk cId="1492403551" sldId="2147473058"/>
            <ac:spMk id="1028" creationId="{F9805BAD-5857-C379-FAE7-693BEEDA4460}"/>
          </ac:spMkLst>
        </pc:spChg>
        <pc:spChg chg="mod">
          <ac:chgData name="Riya Arolkar" userId="aeaa9c71-c623-4bd0-b210-cb6ffabcc789" providerId="ADAL" clId="{9CE188AC-687C-4298-B08B-49903B243CD8}" dt="2025-08-31T17:24:13.059" v="7667" actId="1076"/>
          <ac:spMkLst>
            <pc:docMk/>
            <pc:sldMk cId="1492403551" sldId="2147473058"/>
            <ac:spMk id="1030" creationId="{36F8935D-7A29-A209-DB80-FEC711C4C36B}"/>
          </ac:spMkLst>
        </pc:spChg>
        <pc:spChg chg="mod">
          <ac:chgData name="Riya Arolkar" userId="aeaa9c71-c623-4bd0-b210-cb6ffabcc789" providerId="ADAL" clId="{9CE188AC-687C-4298-B08B-49903B243CD8}" dt="2025-08-31T16:18:59.155" v="6999" actId="1076"/>
          <ac:spMkLst>
            <pc:docMk/>
            <pc:sldMk cId="1492403551" sldId="2147473058"/>
            <ac:spMk id="1069" creationId="{C0184DBF-99B3-AB99-1F6E-05BC927110B4}"/>
          </ac:spMkLst>
        </pc:spChg>
        <pc:spChg chg="mod">
          <ac:chgData name="Riya Arolkar" userId="aeaa9c71-c623-4bd0-b210-cb6ffabcc789" providerId="ADAL" clId="{9CE188AC-687C-4298-B08B-49903B243CD8}" dt="2025-08-31T16:26:43.342" v="7037" actId="693"/>
          <ac:spMkLst>
            <pc:docMk/>
            <pc:sldMk cId="1492403551" sldId="2147473058"/>
            <ac:spMk id="1089" creationId="{AE57AF15-19E0-0351-0D20-3B97A1D6162E}"/>
          </ac:spMkLst>
        </pc:spChg>
        <pc:spChg chg="mod">
          <ac:chgData name="Riya Arolkar" userId="aeaa9c71-c623-4bd0-b210-cb6ffabcc789" providerId="ADAL" clId="{9CE188AC-687C-4298-B08B-49903B243CD8}" dt="2025-08-31T19:01:20.068" v="7979" actId="1076"/>
          <ac:spMkLst>
            <pc:docMk/>
            <pc:sldMk cId="1492403551" sldId="2147473058"/>
            <ac:spMk id="1100" creationId="{3FFA9511-9339-4639-CF1E-CE1D5F635DAD}"/>
          </ac:spMkLst>
        </pc:spChg>
        <pc:spChg chg="mod">
          <ac:chgData name="Riya Arolkar" userId="aeaa9c71-c623-4bd0-b210-cb6ffabcc789" providerId="ADAL" clId="{9CE188AC-687C-4298-B08B-49903B243CD8}" dt="2025-08-31T19:07:56.187" v="7980" actId="1076"/>
          <ac:spMkLst>
            <pc:docMk/>
            <pc:sldMk cId="1492403551" sldId="2147473058"/>
            <ac:spMk id="1103" creationId="{606252E3-A2F9-31F9-9F6C-94C3844898B0}"/>
          </ac:spMkLst>
        </pc:spChg>
        <pc:spChg chg="mod">
          <ac:chgData name="Riya Arolkar" userId="aeaa9c71-c623-4bd0-b210-cb6ffabcc789" providerId="ADAL" clId="{9CE188AC-687C-4298-B08B-49903B243CD8}" dt="2025-08-31T16:17:52.783" v="6986" actId="1076"/>
          <ac:spMkLst>
            <pc:docMk/>
            <pc:sldMk cId="1492403551" sldId="2147473058"/>
            <ac:spMk id="1108" creationId="{0CF85807-8A17-590D-49F0-2E5379935EE3}"/>
          </ac:spMkLst>
        </pc:spChg>
        <pc:spChg chg="mod">
          <ac:chgData name="Riya Arolkar" userId="aeaa9c71-c623-4bd0-b210-cb6ffabcc789" providerId="ADAL" clId="{9CE188AC-687C-4298-B08B-49903B243CD8}" dt="2025-08-31T16:18:34.163" v="6995" actId="1076"/>
          <ac:spMkLst>
            <pc:docMk/>
            <pc:sldMk cId="1492403551" sldId="2147473058"/>
            <ac:spMk id="1109" creationId="{402CB58B-7429-8366-F97A-D6163DAC2CB6}"/>
          </ac:spMkLst>
        </pc:spChg>
        <pc:spChg chg="mod">
          <ac:chgData name="Riya Arolkar" userId="aeaa9c71-c623-4bd0-b210-cb6ffabcc789" providerId="ADAL" clId="{9CE188AC-687C-4298-B08B-49903B243CD8}" dt="2025-08-31T16:18:13.474" v="6990" actId="1076"/>
          <ac:spMkLst>
            <pc:docMk/>
            <pc:sldMk cId="1492403551" sldId="2147473058"/>
            <ac:spMk id="1110" creationId="{C270E5B1-575A-81EB-6DD5-EA9968CDEB17}"/>
          </ac:spMkLst>
        </pc:spChg>
        <pc:spChg chg="mod">
          <ac:chgData name="Riya Arolkar" userId="aeaa9c71-c623-4bd0-b210-cb6ffabcc789" providerId="ADAL" clId="{9CE188AC-687C-4298-B08B-49903B243CD8}" dt="2025-08-31T16:18:41.080" v="6996" actId="1076"/>
          <ac:spMkLst>
            <pc:docMk/>
            <pc:sldMk cId="1492403551" sldId="2147473058"/>
            <ac:spMk id="1111" creationId="{A4866A93-AC60-2A7B-A158-42898EFBA346}"/>
          </ac:spMkLst>
        </pc:spChg>
        <pc:spChg chg="mod">
          <ac:chgData name="Riya Arolkar" userId="aeaa9c71-c623-4bd0-b210-cb6ffabcc789" providerId="ADAL" clId="{9CE188AC-687C-4298-B08B-49903B243CD8}" dt="2025-08-31T20:14:48.236" v="8156" actId="14100"/>
          <ac:spMkLst>
            <pc:docMk/>
            <pc:sldMk cId="1492403551" sldId="2147473058"/>
            <ac:spMk id="1116" creationId="{018E6F56-0BEF-3F79-0419-1CCB1430F78E}"/>
          </ac:spMkLst>
        </pc:spChg>
        <pc:spChg chg="mod">
          <ac:chgData name="Riya Arolkar" userId="aeaa9c71-c623-4bd0-b210-cb6ffabcc789" providerId="ADAL" clId="{9CE188AC-687C-4298-B08B-49903B243CD8}" dt="2025-08-31T20:14:07.047" v="8145" actId="14100"/>
          <ac:spMkLst>
            <pc:docMk/>
            <pc:sldMk cId="1492403551" sldId="2147473058"/>
            <ac:spMk id="1117" creationId="{B044C352-A2D0-7A9A-0F63-CFB4890BE2FB}"/>
          </ac:spMkLst>
        </pc:spChg>
        <pc:spChg chg="mod">
          <ac:chgData name="Riya Arolkar" userId="aeaa9c71-c623-4bd0-b210-cb6ffabcc789" providerId="ADAL" clId="{9CE188AC-687C-4298-B08B-49903B243CD8}" dt="2025-08-31T16:15:46.390" v="6964" actId="1076"/>
          <ac:spMkLst>
            <pc:docMk/>
            <pc:sldMk cId="1492403551" sldId="2147473058"/>
            <ac:spMk id="1118" creationId="{5BF0EE27-9877-B4DF-D038-5C9AAA0D86B7}"/>
          </ac:spMkLst>
        </pc:spChg>
        <pc:picChg chg="mod">
          <ac:chgData name="Riya Arolkar" userId="aeaa9c71-c623-4bd0-b210-cb6ffabcc789" providerId="ADAL" clId="{9CE188AC-687C-4298-B08B-49903B243CD8}" dt="2025-08-31T19:23:27.493" v="8042" actId="14100"/>
          <ac:picMkLst>
            <pc:docMk/>
            <pc:sldMk cId="1492403551" sldId="2147473058"/>
            <ac:picMk id="20" creationId="{6BE602E5-41E2-6DF3-11A1-C6ADB4127BD8}"/>
          </ac:picMkLst>
        </pc:picChg>
        <pc:picChg chg="mod">
          <ac:chgData name="Riya Arolkar" userId="aeaa9c71-c623-4bd0-b210-cb6ffabcc789" providerId="ADAL" clId="{9CE188AC-687C-4298-B08B-49903B243CD8}" dt="2025-08-31T20:14:35.456" v="8154" actId="1076"/>
          <ac:picMkLst>
            <pc:docMk/>
            <pc:sldMk cId="1492403551" sldId="2147473058"/>
            <ac:picMk id="22" creationId="{4495294A-B36E-FCD5-ED12-336F0A90A59A}"/>
          </ac:picMkLst>
        </pc:picChg>
        <pc:picChg chg="mod">
          <ac:chgData name="Riya Arolkar" userId="aeaa9c71-c623-4bd0-b210-cb6ffabcc789" providerId="ADAL" clId="{9CE188AC-687C-4298-B08B-49903B243CD8}" dt="2025-08-31T20:14:16.086" v="8148" actId="1076"/>
          <ac:picMkLst>
            <pc:docMk/>
            <pc:sldMk cId="1492403551" sldId="2147473058"/>
            <ac:picMk id="26" creationId="{DD48BE8B-45D1-40F0-EA0E-E02EF6CDD84C}"/>
          </ac:picMkLst>
        </pc:picChg>
        <pc:picChg chg="mod">
          <ac:chgData name="Riya Arolkar" userId="aeaa9c71-c623-4bd0-b210-cb6ffabcc789" providerId="ADAL" clId="{9CE188AC-687C-4298-B08B-49903B243CD8}" dt="2025-08-31T20:14:20.146" v="8149" actId="14100"/>
          <ac:picMkLst>
            <pc:docMk/>
            <pc:sldMk cId="1492403551" sldId="2147473058"/>
            <ac:picMk id="33" creationId="{A87E658E-DF72-3DA2-2AB7-7EDE7F1250EA}"/>
          </ac:picMkLst>
        </pc:picChg>
        <pc:picChg chg="mod">
          <ac:chgData name="Riya Arolkar" userId="aeaa9c71-c623-4bd0-b210-cb6ffabcc789" providerId="ADAL" clId="{9CE188AC-687C-4298-B08B-49903B243CD8}" dt="2025-08-31T19:29:24.466" v="8089" actId="1076"/>
          <ac:picMkLst>
            <pc:docMk/>
            <pc:sldMk cId="1492403551" sldId="2147473058"/>
            <ac:picMk id="60" creationId="{C29D7C92-B3E1-CA6C-517C-E31D8F0FED3C}"/>
          </ac:picMkLst>
        </pc:picChg>
        <pc:picChg chg="mod">
          <ac:chgData name="Riya Arolkar" userId="aeaa9c71-c623-4bd0-b210-cb6ffabcc789" providerId="ADAL" clId="{9CE188AC-687C-4298-B08B-49903B243CD8}" dt="2025-08-31T16:25:18.034" v="7026" actId="1076"/>
          <ac:picMkLst>
            <pc:docMk/>
            <pc:sldMk cId="1492403551" sldId="2147473058"/>
            <ac:picMk id="62" creationId="{5ADE1947-0652-8FFD-3EAD-F2E9A222ED5D}"/>
          </ac:picMkLst>
        </pc:picChg>
        <pc:picChg chg="mod">
          <ac:chgData name="Riya Arolkar" userId="aeaa9c71-c623-4bd0-b210-cb6ffabcc789" providerId="ADAL" clId="{9CE188AC-687C-4298-B08B-49903B243CD8}" dt="2025-08-31T20:14:28.466" v="8152" actId="1076"/>
          <ac:picMkLst>
            <pc:docMk/>
            <pc:sldMk cId="1492403551" sldId="2147473058"/>
            <ac:picMk id="1032" creationId="{681BE6A3-F10A-A898-A9DC-45BCFEB8E462}"/>
          </ac:picMkLst>
        </pc:picChg>
        <pc:picChg chg="mod">
          <ac:chgData name="Riya Arolkar" userId="aeaa9c71-c623-4bd0-b210-cb6ffabcc789" providerId="ADAL" clId="{9CE188AC-687C-4298-B08B-49903B243CD8}" dt="2025-08-31T19:29:22.276" v="8088" actId="1076"/>
          <ac:picMkLst>
            <pc:docMk/>
            <pc:sldMk cId="1492403551" sldId="2147473058"/>
            <ac:picMk id="1034" creationId="{FF69F00C-9CD9-CB9E-2C55-4BE064728522}"/>
          </ac:picMkLst>
        </pc:picChg>
        <pc:picChg chg="mod">
          <ac:chgData name="Riya Arolkar" userId="aeaa9c71-c623-4bd0-b210-cb6ffabcc789" providerId="ADAL" clId="{9CE188AC-687C-4298-B08B-49903B243CD8}" dt="2025-08-31T19:29:43.448" v="8090" actId="1076"/>
          <ac:picMkLst>
            <pc:docMk/>
            <pc:sldMk cId="1492403551" sldId="2147473058"/>
            <ac:picMk id="1036" creationId="{A3B84B4E-99BD-6867-B5AE-4F829A9CB8F9}"/>
          </ac:picMkLst>
        </pc:picChg>
        <pc:picChg chg="mod">
          <ac:chgData name="Riya Arolkar" userId="aeaa9c71-c623-4bd0-b210-cb6ffabcc789" providerId="ADAL" clId="{9CE188AC-687C-4298-B08B-49903B243CD8}" dt="2025-08-31T19:28:04.196" v="8080" actId="1076"/>
          <ac:picMkLst>
            <pc:docMk/>
            <pc:sldMk cId="1492403551" sldId="2147473058"/>
            <ac:picMk id="1040" creationId="{371A9C17-E9CD-05A4-1FE9-C542C186EE61}"/>
          </ac:picMkLst>
        </pc:picChg>
        <pc:picChg chg="mod">
          <ac:chgData name="Riya Arolkar" userId="aeaa9c71-c623-4bd0-b210-cb6ffabcc789" providerId="ADAL" clId="{9CE188AC-687C-4298-B08B-49903B243CD8}" dt="2025-08-31T19:29:20.607" v="8087" actId="1076"/>
          <ac:picMkLst>
            <pc:docMk/>
            <pc:sldMk cId="1492403551" sldId="2147473058"/>
            <ac:picMk id="1044" creationId="{9AF9AF06-BE3A-3C6F-3CEE-6679A44FEE92}"/>
          </ac:picMkLst>
        </pc:picChg>
        <pc:picChg chg="mod modCrop">
          <ac:chgData name="Riya Arolkar" userId="aeaa9c71-c623-4bd0-b210-cb6ffabcc789" providerId="ADAL" clId="{9CE188AC-687C-4298-B08B-49903B243CD8}" dt="2025-08-31T17:39:43.137" v="7670" actId="14100"/>
          <ac:picMkLst>
            <pc:docMk/>
            <pc:sldMk cId="1492403551" sldId="2147473058"/>
            <ac:picMk id="1070" creationId="{3A94613E-0BDB-AB88-A2FC-09BB2CAF642E}"/>
          </ac:picMkLst>
        </pc:picChg>
        <pc:picChg chg="mod">
          <ac:chgData name="Riya Arolkar" userId="aeaa9c71-c623-4bd0-b210-cb6ffabcc789" providerId="ADAL" clId="{9CE188AC-687C-4298-B08B-49903B243CD8}" dt="2025-08-31T20:14:26.584" v="8151" actId="1076"/>
          <ac:picMkLst>
            <pc:docMk/>
            <pc:sldMk cId="1492403551" sldId="2147473058"/>
            <ac:picMk id="1073" creationId="{B8E110F3-24A7-CCF7-6B27-BB8CB2D4FBAF}"/>
          </ac:picMkLst>
        </pc:picChg>
        <pc:picChg chg="mod">
          <ac:chgData name="Riya Arolkar" userId="aeaa9c71-c623-4bd0-b210-cb6ffabcc789" providerId="ADAL" clId="{9CE188AC-687C-4298-B08B-49903B243CD8}" dt="2025-08-31T20:13:45.806" v="8144" actId="14100"/>
          <ac:picMkLst>
            <pc:docMk/>
            <pc:sldMk cId="1492403551" sldId="2147473058"/>
            <ac:picMk id="1093" creationId="{9AE235F7-F832-09B9-4AF4-31E84F79D5D3}"/>
          </ac:picMkLst>
        </pc:picChg>
        <pc:picChg chg="mod">
          <ac:chgData name="Riya Arolkar" userId="aeaa9c71-c623-4bd0-b210-cb6ffabcc789" providerId="ADAL" clId="{9CE188AC-687C-4298-B08B-49903B243CD8}" dt="2025-08-31T19:01:10.871" v="7978" actId="1076"/>
          <ac:picMkLst>
            <pc:docMk/>
            <pc:sldMk cId="1492403551" sldId="2147473058"/>
            <ac:picMk id="1102" creationId="{8A7A6B9C-7523-2D23-5662-B0CD7E99226A}"/>
          </ac:picMkLst>
        </pc:picChg>
        <pc:picChg chg="mod">
          <ac:chgData name="Riya Arolkar" userId="aeaa9c71-c623-4bd0-b210-cb6ffabcc789" providerId="ADAL" clId="{9CE188AC-687C-4298-B08B-49903B243CD8}" dt="2025-08-31T16:18:02.045" v="6987" actId="1076"/>
          <ac:picMkLst>
            <pc:docMk/>
            <pc:sldMk cId="1492403551" sldId="2147473058"/>
            <ac:picMk id="1104" creationId="{61D9C323-A71D-A1D7-6CAF-D34436922F50}"/>
          </ac:picMkLst>
        </pc:picChg>
        <pc:picChg chg="mod modCrop">
          <ac:chgData name="Riya Arolkar" userId="aeaa9c71-c623-4bd0-b210-cb6ffabcc789" providerId="ADAL" clId="{9CE188AC-687C-4298-B08B-49903B243CD8}" dt="2025-08-31T17:13:01.879" v="7426" actId="14100"/>
          <ac:picMkLst>
            <pc:docMk/>
            <pc:sldMk cId="1492403551" sldId="2147473058"/>
            <ac:picMk id="1105" creationId="{80EFF18F-5F5F-E77E-58DA-639A4C155C3E}"/>
          </ac:picMkLst>
        </pc:picChg>
        <pc:picChg chg="mod">
          <ac:chgData name="Riya Arolkar" userId="aeaa9c71-c623-4bd0-b210-cb6ffabcc789" providerId="ADAL" clId="{9CE188AC-687C-4298-B08B-49903B243CD8}" dt="2025-08-31T17:13:09.795" v="7427" actId="14100"/>
          <ac:picMkLst>
            <pc:docMk/>
            <pc:sldMk cId="1492403551" sldId="2147473058"/>
            <ac:picMk id="1106" creationId="{FFF04377-CA39-34FF-ADE9-E070FBE81C65}"/>
          </ac:picMkLst>
        </pc:picChg>
        <pc:picChg chg="mod">
          <ac:chgData name="Riya Arolkar" userId="aeaa9c71-c623-4bd0-b210-cb6ffabcc789" providerId="ADAL" clId="{9CE188AC-687C-4298-B08B-49903B243CD8}" dt="2025-08-31T17:12:43.989" v="7423" actId="14100"/>
          <ac:picMkLst>
            <pc:docMk/>
            <pc:sldMk cId="1492403551" sldId="2147473058"/>
            <ac:picMk id="1107" creationId="{1A19E6C8-6795-D965-1B20-5F456D278E26}"/>
          </ac:picMkLst>
        </pc:picChg>
        <pc:cxnChg chg="add mod">
          <ac:chgData name="Riya Arolkar" userId="aeaa9c71-c623-4bd0-b210-cb6ffabcc789" providerId="ADAL" clId="{9CE188AC-687C-4298-B08B-49903B243CD8}" dt="2025-08-31T17:08:43.100" v="7323" actId="1076"/>
          <ac:cxnSpMkLst>
            <pc:docMk/>
            <pc:sldMk cId="1492403551" sldId="2147473058"/>
            <ac:cxnSpMk id="16" creationId="{B1E52178-46A6-8D3A-9AAF-33A061E379B3}"/>
          </ac:cxnSpMkLst>
        </pc:cxnChg>
        <pc:cxnChg chg="mod">
          <ac:chgData name="Riya Arolkar" userId="aeaa9c71-c623-4bd0-b210-cb6ffabcc789" providerId="ADAL" clId="{9CE188AC-687C-4298-B08B-49903B243CD8}" dt="2025-08-31T16:28:05.039" v="7040" actId="14100"/>
          <ac:cxnSpMkLst>
            <pc:docMk/>
            <pc:sldMk cId="1492403551" sldId="2147473058"/>
            <ac:cxnSpMk id="17" creationId="{88046C3F-A665-A58D-20C3-A2395578F099}"/>
          </ac:cxnSpMkLst>
        </pc:cxnChg>
        <pc:cxnChg chg="add mod">
          <ac:chgData name="Riya Arolkar" userId="aeaa9c71-c623-4bd0-b210-cb6ffabcc789" providerId="ADAL" clId="{9CE188AC-687C-4298-B08B-49903B243CD8}" dt="2025-08-31T16:27:37.630" v="7039" actId="208"/>
          <ac:cxnSpMkLst>
            <pc:docMk/>
            <pc:sldMk cId="1492403551" sldId="2147473058"/>
            <ac:cxnSpMk id="38" creationId="{02AC6AB9-6C81-C663-9779-86269C7EA51C}"/>
          </ac:cxnSpMkLst>
        </pc:cxnChg>
        <pc:cxnChg chg="add mod">
          <ac:chgData name="Riya Arolkar" userId="aeaa9c71-c623-4bd0-b210-cb6ffabcc789" providerId="ADAL" clId="{9CE188AC-687C-4298-B08B-49903B243CD8}" dt="2025-08-31T16:29:13.044" v="7049" actId="1076"/>
          <ac:cxnSpMkLst>
            <pc:docMk/>
            <pc:sldMk cId="1492403551" sldId="2147473058"/>
            <ac:cxnSpMk id="41" creationId="{EDE102ED-8A97-4084-A6BB-0583E9C755ED}"/>
          </ac:cxnSpMkLst>
        </pc:cxnChg>
        <pc:cxnChg chg="mod">
          <ac:chgData name="Riya Arolkar" userId="aeaa9c71-c623-4bd0-b210-cb6ffabcc789" providerId="ADAL" clId="{9CE188AC-687C-4298-B08B-49903B243CD8}" dt="2025-08-31T16:20:03.849" v="7012" actId="14100"/>
          <ac:cxnSpMkLst>
            <pc:docMk/>
            <pc:sldMk cId="1492403551" sldId="2147473058"/>
            <ac:cxnSpMk id="45" creationId="{3389C461-B29E-713A-A359-7BA36715969D}"/>
          </ac:cxnSpMkLst>
        </pc:cxnChg>
        <pc:cxnChg chg="mod">
          <ac:chgData name="Riya Arolkar" userId="aeaa9c71-c623-4bd0-b210-cb6ffabcc789" providerId="ADAL" clId="{9CE188AC-687C-4298-B08B-49903B243CD8}" dt="2025-08-31T16:25:12.876" v="7024" actId="1076"/>
          <ac:cxnSpMkLst>
            <pc:docMk/>
            <pc:sldMk cId="1492403551" sldId="2147473058"/>
            <ac:cxnSpMk id="47" creationId="{DCE82656-B44A-3F4B-0FAB-969B8F48D48F}"/>
          </ac:cxnSpMkLst>
        </pc:cxnChg>
        <pc:cxnChg chg="mod">
          <ac:chgData name="Riya Arolkar" userId="aeaa9c71-c623-4bd0-b210-cb6ffabcc789" providerId="ADAL" clId="{9CE188AC-687C-4298-B08B-49903B243CD8}" dt="2025-08-31T20:13:45.806" v="8144" actId="14100"/>
          <ac:cxnSpMkLst>
            <pc:docMk/>
            <pc:sldMk cId="1492403551" sldId="2147473058"/>
            <ac:cxnSpMk id="1091" creationId="{90900CB7-051B-1555-FB8B-58865DBB47B6}"/>
          </ac:cxnSpMkLst>
        </pc:cxnChg>
      </pc:sldChg>
      <pc:sldMasterChg chg="addSp delSp modSp mod">
        <pc:chgData name="Riya Arolkar" userId="aeaa9c71-c623-4bd0-b210-cb6ffabcc789" providerId="ADAL" clId="{9CE188AC-687C-4298-B08B-49903B243CD8}" dt="2025-08-31T10:06:40.304" v="1500"/>
        <pc:sldMasterMkLst>
          <pc:docMk/>
          <pc:sldMasterMk cId="2948122457" sldId="2147483648"/>
        </pc:sldMasterMkLst>
        <pc:spChg chg="mod">
          <ac:chgData name="Riya Arolkar" userId="aeaa9c71-c623-4bd0-b210-cb6ffabcc789" providerId="ADAL" clId="{9CE188AC-687C-4298-B08B-49903B243CD8}" dt="2025-08-31T10:06:39.994" v="1417" actId="948"/>
          <ac:spMkLst>
            <pc:docMk/>
            <pc:sldMasterMk cId="2948122457" sldId="2147483648"/>
            <ac:spMk id="2" creationId="{808F3738-1E1D-C33A-4B5F-346844A2C718}"/>
          </ac:spMkLst>
        </pc:spChg>
        <pc:graphicFrameChg chg="add mod ord modVis">
          <ac:chgData name="Riya Arolkar" userId="aeaa9c71-c623-4bd0-b210-cb6ffabcc789" providerId="ADAL" clId="{9CE188AC-687C-4298-B08B-49903B243CD8}" dt="2025-08-31T10:06:40.304" v="1500"/>
          <ac:graphicFrameMkLst>
            <pc:docMk/>
            <pc:sldMasterMk cId="2948122457" sldId="2147483648"/>
            <ac:graphicFrameMk id="8" creationId="{11084292-7C59-2533-87FE-9BF85662E13C}"/>
          </ac:graphicFrameMkLst>
        </pc:graphicFrameChg>
      </pc:sldMasterChg>
    </pc:docChg>
  </pc:docChgLst>
  <pc:docChgLst>
    <pc:chgData name="Riya Arolkar" userId="S::riya.arolkar2026@bitsom.edu.in::aeaa9c71-c623-4bd0-b210-cb6ffabcc789" providerId="AD" clId="Web-{6E04C924-8997-FD8D-75ED-5EF8F0BDE788}"/>
    <pc:docChg chg="modSld">
      <pc:chgData name="Riya Arolkar" userId="S::riya.arolkar2026@bitsom.edu.in::aeaa9c71-c623-4bd0-b210-cb6ffabcc789" providerId="AD" clId="Web-{6E04C924-8997-FD8D-75ED-5EF8F0BDE788}" dt="2025-08-30T20:50:24.743" v="5" actId="20577"/>
      <pc:docMkLst>
        <pc:docMk/>
      </pc:docMkLst>
      <pc:sldChg chg="modSp">
        <pc:chgData name="Riya Arolkar" userId="S::riya.arolkar2026@bitsom.edu.in::aeaa9c71-c623-4bd0-b210-cb6ffabcc789" providerId="AD" clId="Web-{6E04C924-8997-FD8D-75ED-5EF8F0BDE788}" dt="2025-08-30T20:50:24.665" v="1" actId="20577"/>
        <pc:sldMkLst>
          <pc:docMk/>
          <pc:sldMk cId="2251381016" sldId="256"/>
        </pc:sldMkLst>
      </pc:sldChg>
      <pc:sldChg chg="modSp">
        <pc:chgData name="Riya Arolkar" userId="S::riya.arolkar2026@bitsom.edu.in::aeaa9c71-c623-4bd0-b210-cb6ffabcc789" providerId="AD" clId="Web-{6E04C924-8997-FD8D-75ED-5EF8F0BDE788}" dt="2025-08-30T20:50:24.743" v="5" actId="20577"/>
        <pc:sldMkLst>
          <pc:docMk/>
          <pc:sldMk cId="2504304716" sldId="259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CFD1F4A-5F60-4165-9F88-30C14544D64E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AE418737-E1DF-4995-9268-3173241A019E}">
      <dgm:prSet phldrT="[Text]" custT="1"/>
      <dgm:spPr>
        <a:solidFill>
          <a:srgbClr val="9D1E27"/>
        </a:solidFill>
      </dgm:spPr>
      <dgm:t>
        <a:bodyPr/>
        <a:lstStyle/>
        <a:p>
          <a:r>
            <a:rPr lang="en-IN" sz="1200" b="1"/>
            <a:t>On-prem RAG stack</a:t>
          </a:r>
          <a:endParaRPr lang="en-IN" sz="1200"/>
        </a:p>
      </dgm:t>
    </dgm:pt>
    <dgm:pt modelId="{4C8B9E3F-1EA8-44D6-BEA5-4B209EFDF44D}" type="parTrans" cxnId="{7AFD3FFB-7B13-4AB5-B302-47AD133F3DF5}">
      <dgm:prSet/>
      <dgm:spPr/>
      <dgm:t>
        <a:bodyPr/>
        <a:lstStyle/>
        <a:p>
          <a:endParaRPr lang="en-IN" sz="1200"/>
        </a:p>
      </dgm:t>
    </dgm:pt>
    <dgm:pt modelId="{0A3BA882-8119-4879-81ED-0AB8E892B760}" type="sibTrans" cxnId="{7AFD3FFB-7B13-4AB5-B302-47AD133F3DF5}">
      <dgm:prSet/>
      <dgm:spPr/>
      <dgm:t>
        <a:bodyPr/>
        <a:lstStyle/>
        <a:p>
          <a:endParaRPr lang="en-IN" sz="1200"/>
        </a:p>
      </dgm:t>
    </dgm:pt>
    <dgm:pt modelId="{533D94BB-0D2C-432B-97A9-16ADF684E0E0}">
      <dgm:prSet custT="1"/>
      <dgm:spPr>
        <a:solidFill>
          <a:srgbClr val="9D1E27"/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b="1"/>
            <a:t>Target SLOs</a:t>
          </a:r>
          <a:endParaRPr lang="en-US" sz="1200"/>
        </a:p>
      </dgm:t>
    </dgm:pt>
    <dgm:pt modelId="{D582B04D-F9FE-4B9D-821A-7DDE4C109E1A}" type="parTrans" cxnId="{16BE0BC4-8BAD-42D7-A0F3-F3D524C8219E}">
      <dgm:prSet/>
      <dgm:spPr/>
      <dgm:t>
        <a:bodyPr/>
        <a:lstStyle/>
        <a:p>
          <a:endParaRPr lang="en-IN" sz="1200"/>
        </a:p>
      </dgm:t>
    </dgm:pt>
    <dgm:pt modelId="{2AB31614-7758-4241-B7A8-47C3E4E1BB33}" type="sibTrans" cxnId="{16BE0BC4-8BAD-42D7-A0F3-F3D524C8219E}">
      <dgm:prSet/>
      <dgm:spPr/>
      <dgm:t>
        <a:bodyPr/>
        <a:lstStyle/>
        <a:p>
          <a:endParaRPr lang="en-IN" sz="1200"/>
        </a:p>
      </dgm:t>
    </dgm:pt>
    <dgm:pt modelId="{80BBC839-124D-447D-8E21-28F88ED09796}">
      <dgm:prSet custT="1"/>
      <dgm:spPr>
        <a:ln>
          <a:solidFill>
            <a:srgbClr val="9D1E27"/>
          </a:solidFill>
        </a:ln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/>
            <a:t>P50 ≤ </a:t>
          </a:r>
          <a:r>
            <a:rPr lang="en-US" sz="1200" b="1"/>
            <a:t>2s</a:t>
          </a:r>
          <a:r>
            <a:rPr lang="en-US" sz="1200"/>
            <a:t>, P95 ≤ </a:t>
          </a:r>
          <a:r>
            <a:rPr lang="en-US" sz="1200" b="1"/>
            <a:t>4s</a:t>
          </a:r>
          <a:r>
            <a:rPr lang="en-US" sz="1200"/>
            <a:t>; </a:t>
          </a:r>
          <a:r>
            <a:rPr lang="en-US" sz="1200" b="1"/>
            <a:t>1–2k TPS</a:t>
          </a:r>
          <a:r>
            <a:rPr lang="en-US" sz="1200"/>
            <a:t> at national scale; citations + safe-decline when uncertain.</a:t>
          </a:r>
        </a:p>
      </dgm:t>
    </dgm:pt>
    <dgm:pt modelId="{4F0D7706-AB63-4111-A5A9-34F53E48E3EB}" type="parTrans" cxnId="{04F4E11E-7F94-4925-9D0B-325A5669FEC2}">
      <dgm:prSet/>
      <dgm:spPr/>
      <dgm:t>
        <a:bodyPr/>
        <a:lstStyle/>
        <a:p>
          <a:endParaRPr lang="en-IN" sz="1200"/>
        </a:p>
      </dgm:t>
    </dgm:pt>
    <dgm:pt modelId="{44BD29B0-5828-4C3A-9609-5AD49A01818C}" type="sibTrans" cxnId="{04F4E11E-7F94-4925-9D0B-325A5669FEC2}">
      <dgm:prSet/>
      <dgm:spPr/>
      <dgm:t>
        <a:bodyPr/>
        <a:lstStyle/>
        <a:p>
          <a:endParaRPr lang="en-IN" sz="1200"/>
        </a:p>
      </dgm:t>
    </dgm:pt>
    <dgm:pt modelId="{68200B21-473A-4666-A290-6017D0256A77}">
      <dgm:prSet custT="1"/>
      <dgm:spPr>
        <a:ln>
          <a:solidFill>
            <a:srgbClr val="9D1E27"/>
          </a:solidFill>
        </a:ln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IN" sz="1200"/>
            <a:t>7–13B LLM (bank-tuned) + vector search + SQL/API retrieval; </a:t>
          </a:r>
          <a:r>
            <a:rPr lang="en-IN" sz="1200" b="1"/>
            <a:t>chat + voice (vernacular) ASR/TTS</a:t>
          </a:r>
          <a:r>
            <a:rPr lang="en-IN" sz="1200"/>
            <a:t>; strict </a:t>
          </a:r>
          <a:r>
            <a:rPr lang="en-IN" sz="1200" b="1"/>
            <a:t>customer-scope filters</a:t>
          </a:r>
          <a:r>
            <a:rPr lang="en-IN" sz="1200"/>
            <a:t> before the LLM.</a:t>
          </a:r>
        </a:p>
      </dgm:t>
    </dgm:pt>
    <dgm:pt modelId="{850FAFBA-3104-4C1B-8BAA-483B5E6AD3F2}" type="parTrans" cxnId="{74D66606-A796-4E5D-969D-F36B1F58BBF0}">
      <dgm:prSet/>
      <dgm:spPr/>
      <dgm:t>
        <a:bodyPr/>
        <a:lstStyle/>
        <a:p>
          <a:endParaRPr lang="en-IN" sz="1200"/>
        </a:p>
      </dgm:t>
    </dgm:pt>
    <dgm:pt modelId="{799AD436-03D4-40FB-89D5-D0372B2828B5}" type="sibTrans" cxnId="{74D66606-A796-4E5D-969D-F36B1F58BBF0}">
      <dgm:prSet/>
      <dgm:spPr/>
      <dgm:t>
        <a:bodyPr/>
        <a:lstStyle/>
        <a:p>
          <a:endParaRPr lang="en-IN" sz="1200"/>
        </a:p>
      </dgm:t>
    </dgm:pt>
    <dgm:pt modelId="{9B4C1DB8-5C56-487F-8904-2C10187AB35B}" type="pres">
      <dgm:prSet presAssocID="{DCFD1F4A-5F60-4165-9F88-30C14544D64E}" presName="linear" presStyleCnt="0">
        <dgm:presLayoutVars>
          <dgm:dir/>
          <dgm:animLvl val="lvl"/>
          <dgm:resizeHandles val="exact"/>
        </dgm:presLayoutVars>
      </dgm:prSet>
      <dgm:spPr/>
    </dgm:pt>
    <dgm:pt modelId="{17542C08-6698-4EC9-A47F-1CC9FE116C97}" type="pres">
      <dgm:prSet presAssocID="{AE418737-E1DF-4995-9268-3173241A019E}" presName="parentLin" presStyleCnt="0"/>
      <dgm:spPr/>
    </dgm:pt>
    <dgm:pt modelId="{0C42D7A9-1BA9-4875-8912-BB6E2BA2C33C}" type="pres">
      <dgm:prSet presAssocID="{AE418737-E1DF-4995-9268-3173241A019E}" presName="parentLeftMargin" presStyleLbl="node1" presStyleIdx="0" presStyleCnt="2"/>
      <dgm:spPr/>
    </dgm:pt>
    <dgm:pt modelId="{2286E6CA-52B2-4370-BA4E-801A5473A871}" type="pres">
      <dgm:prSet presAssocID="{AE418737-E1DF-4995-9268-3173241A019E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4635C43B-570B-47DD-808F-82FC67361A30}" type="pres">
      <dgm:prSet presAssocID="{AE418737-E1DF-4995-9268-3173241A019E}" presName="negativeSpace" presStyleCnt="0"/>
      <dgm:spPr/>
    </dgm:pt>
    <dgm:pt modelId="{5CE08351-028F-4975-B855-0A53754E93A3}" type="pres">
      <dgm:prSet presAssocID="{AE418737-E1DF-4995-9268-3173241A019E}" presName="childText" presStyleLbl="conFgAcc1" presStyleIdx="0" presStyleCnt="2">
        <dgm:presLayoutVars>
          <dgm:bulletEnabled val="1"/>
        </dgm:presLayoutVars>
      </dgm:prSet>
      <dgm:spPr/>
    </dgm:pt>
    <dgm:pt modelId="{5A492BE9-7442-4C28-B5B8-1955555175C5}" type="pres">
      <dgm:prSet presAssocID="{0A3BA882-8119-4879-81ED-0AB8E892B760}" presName="spaceBetweenRectangles" presStyleCnt="0"/>
      <dgm:spPr/>
    </dgm:pt>
    <dgm:pt modelId="{1AC2BE3A-4A5D-46C3-AFA5-502B2A8805F2}" type="pres">
      <dgm:prSet presAssocID="{533D94BB-0D2C-432B-97A9-16ADF684E0E0}" presName="parentLin" presStyleCnt="0"/>
      <dgm:spPr/>
    </dgm:pt>
    <dgm:pt modelId="{7F868CCA-0EF1-4482-820E-C6336588A3B9}" type="pres">
      <dgm:prSet presAssocID="{533D94BB-0D2C-432B-97A9-16ADF684E0E0}" presName="parentLeftMargin" presStyleLbl="node1" presStyleIdx="0" presStyleCnt="2"/>
      <dgm:spPr/>
    </dgm:pt>
    <dgm:pt modelId="{0670B2DA-3CC9-4B1D-A0BB-23B231477434}" type="pres">
      <dgm:prSet presAssocID="{533D94BB-0D2C-432B-97A9-16ADF684E0E0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325B954B-FEEC-4A76-A146-22F6105CA91A}" type="pres">
      <dgm:prSet presAssocID="{533D94BB-0D2C-432B-97A9-16ADF684E0E0}" presName="negativeSpace" presStyleCnt="0"/>
      <dgm:spPr/>
    </dgm:pt>
    <dgm:pt modelId="{04B0A627-B95D-4794-A550-89F9CCFD7FCF}" type="pres">
      <dgm:prSet presAssocID="{533D94BB-0D2C-432B-97A9-16ADF684E0E0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74D66606-A796-4E5D-969D-F36B1F58BBF0}" srcId="{AE418737-E1DF-4995-9268-3173241A019E}" destId="{68200B21-473A-4666-A290-6017D0256A77}" srcOrd="0" destOrd="0" parTransId="{850FAFBA-3104-4C1B-8BAA-483B5E6AD3F2}" sibTransId="{799AD436-03D4-40FB-89D5-D0372B2828B5}"/>
    <dgm:cxn modelId="{04F4E11E-7F94-4925-9D0B-325A5669FEC2}" srcId="{533D94BB-0D2C-432B-97A9-16ADF684E0E0}" destId="{80BBC839-124D-447D-8E21-28F88ED09796}" srcOrd="0" destOrd="0" parTransId="{4F0D7706-AB63-4111-A5A9-34F53E48E3EB}" sibTransId="{44BD29B0-5828-4C3A-9609-5AD49A01818C}"/>
    <dgm:cxn modelId="{2C86B771-A037-4A0C-8415-8210259EA67B}" type="presOf" srcId="{AE418737-E1DF-4995-9268-3173241A019E}" destId="{0C42D7A9-1BA9-4875-8912-BB6E2BA2C33C}" srcOrd="0" destOrd="0" presId="urn:microsoft.com/office/officeart/2005/8/layout/list1"/>
    <dgm:cxn modelId="{05288674-8897-4114-91BA-1C50AC0EA5BA}" type="presOf" srcId="{533D94BB-0D2C-432B-97A9-16ADF684E0E0}" destId="{0670B2DA-3CC9-4B1D-A0BB-23B231477434}" srcOrd="1" destOrd="0" presId="urn:microsoft.com/office/officeart/2005/8/layout/list1"/>
    <dgm:cxn modelId="{1DA969A4-3C9D-4906-8F6F-F453829DAA95}" type="presOf" srcId="{DCFD1F4A-5F60-4165-9F88-30C14544D64E}" destId="{9B4C1DB8-5C56-487F-8904-2C10187AB35B}" srcOrd="0" destOrd="0" presId="urn:microsoft.com/office/officeart/2005/8/layout/list1"/>
    <dgm:cxn modelId="{6CE36DAF-2AD7-4F63-A673-D36D19DD5A6B}" type="presOf" srcId="{80BBC839-124D-447D-8E21-28F88ED09796}" destId="{04B0A627-B95D-4794-A550-89F9CCFD7FCF}" srcOrd="0" destOrd="0" presId="urn:microsoft.com/office/officeart/2005/8/layout/list1"/>
    <dgm:cxn modelId="{16BE0BC4-8BAD-42D7-A0F3-F3D524C8219E}" srcId="{DCFD1F4A-5F60-4165-9F88-30C14544D64E}" destId="{533D94BB-0D2C-432B-97A9-16ADF684E0E0}" srcOrd="1" destOrd="0" parTransId="{D582B04D-F9FE-4B9D-821A-7DDE4C109E1A}" sibTransId="{2AB31614-7758-4241-B7A8-47C3E4E1BB33}"/>
    <dgm:cxn modelId="{38E0FAC9-B266-401A-805A-A85A9F345AFD}" type="presOf" srcId="{AE418737-E1DF-4995-9268-3173241A019E}" destId="{2286E6CA-52B2-4370-BA4E-801A5473A871}" srcOrd="1" destOrd="0" presId="urn:microsoft.com/office/officeart/2005/8/layout/list1"/>
    <dgm:cxn modelId="{44BD3EDF-5EC1-4E4B-ADE5-1F45C876B00A}" type="presOf" srcId="{533D94BB-0D2C-432B-97A9-16ADF684E0E0}" destId="{7F868CCA-0EF1-4482-820E-C6336588A3B9}" srcOrd="0" destOrd="0" presId="urn:microsoft.com/office/officeart/2005/8/layout/list1"/>
    <dgm:cxn modelId="{114F79EA-C243-4464-A7B9-347C8322375F}" type="presOf" srcId="{68200B21-473A-4666-A290-6017D0256A77}" destId="{5CE08351-028F-4975-B855-0A53754E93A3}" srcOrd="0" destOrd="0" presId="urn:microsoft.com/office/officeart/2005/8/layout/list1"/>
    <dgm:cxn modelId="{7AFD3FFB-7B13-4AB5-B302-47AD133F3DF5}" srcId="{DCFD1F4A-5F60-4165-9F88-30C14544D64E}" destId="{AE418737-E1DF-4995-9268-3173241A019E}" srcOrd="0" destOrd="0" parTransId="{4C8B9E3F-1EA8-44D6-BEA5-4B209EFDF44D}" sibTransId="{0A3BA882-8119-4879-81ED-0AB8E892B760}"/>
    <dgm:cxn modelId="{7CDA5ECF-8363-495F-8906-61B144355C3C}" type="presParOf" srcId="{9B4C1DB8-5C56-487F-8904-2C10187AB35B}" destId="{17542C08-6698-4EC9-A47F-1CC9FE116C97}" srcOrd="0" destOrd="0" presId="urn:microsoft.com/office/officeart/2005/8/layout/list1"/>
    <dgm:cxn modelId="{F33F2178-FE9B-4871-9820-D105E2EAAD13}" type="presParOf" srcId="{17542C08-6698-4EC9-A47F-1CC9FE116C97}" destId="{0C42D7A9-1BA9-4875-8912-BB6E2BA2C33C}" srcOrd="0" destOrd="0" presId="urn:microsoft.com/office/officeart/2005/8/layout/list1"/>
    <dgm:cxn modelId="{3C9A814C-BA9E-44E6-B83F-C616417AD6F6}" type="presParOf" srcId="{17542C08-6698-4EC9-A47F-1CC9FE116C97}" destId="{2286E6CA-52B2-4370-BA4E-801A5473A871}" srcOrd="1" destOrd="0" presId="urn:microsoft.com/office/officeart/2005/8/layout/list1"/>
    <dgm:cxn modelId="{47E9E2DC-4E19-4E92-9AD2-47CADE758F4B}" type="presParOf" srcId="{9B4C1DB8-5C56-487F-8904-2C10187AB35B}" destId="{4635C43B-570B-47DD-808F-82FC67361A30}" srcOrd="1" destOrd="0" presId="urn:microsoft.com/office/officeart/2005/8/layout/list1"/>
    <dgm:cxn modelId="{415CD362-2B4E-40CE-B79D-2F109FCF62BF}" type="presParOf" srcId="{9B4C1DB8-5C56-487F-8904-2C10187AB35B}" destId="{5CE08351-028F-4975-B855-0A53754E93A3}" srcOrd="2" destOrd="0" presId="urn:microsoft.com/office/officeart/2005/8/layout/list1"/>
    <dgm:cxn modelId="{3A2E25A4-3575-48C0-98B8-F667B369B847}" type="presParOf" srcId="{9B4C1DB8-5C56-487F-8904-2C10187AB35B}" destId="{5A492BE9-7442-4C28-B5B8-1955555175C5}" srcOrd="3" destOrd="0" presId="urn:microsoft.com/office/officeart/2005/8/layout/list1"/>
    <dgm:cxn modelId="{B2DF0661-8F5A-41FB-A14C-AB9E81F24B7C}" type="presParOf" srcId="{9B4C1DB8-5C56-487F-8904-2C10187AB35B}" destId="{1AC2BE3A-4A5D-46C3-AFA5-502B2A8805F2}" srcOrd="4" destOrd="0" presId="urn:microsoft.com/office/officeart/2005/8/layout/list1"/>
    <dgm:cxn modelId="{18B5B7C7-91DE-4676-A931-FAFC3DB8FB8C}" type="presParOf" srcId="{1AC2BE3A-4A5D-46C3-AFA5-502B2A8805F2}" destId="{7F868CCA-0EF1-4482-820E-C6336588A3B9}" srcOrd="0" destOrd="0" presId="urn:microsoft.com/office/officeart/2005/8/layout/list1"/>
    <dgm:cxn modelId="{50713E0B-ABF0-4DFB-893B-9DAC0A4EE029}" type="presParOf" srcId="{1AC2BE3A-4A5D-46C3-AFA5-502B2A8805F2}" destId="{0670B2DA-3CC9-4B1D-A0BB-23B231477434}" srcOrd="1" destOrd="0" presId="urn:microsoft.com/office/officeart/2005/8/layout/list1"/>
    <dgm:cxn modelId="{1437C108-DFDE-4099-9E6E-C06FB6E48046}" type="presParOf" srcId="{9B4C1DB8-5C56-487F-8904-2C10187AB35B}" destId="{325B954B-FEEC-4A76-A146-22F6105CA91A}" srcOrd="5" destOrd="0" presId="urn:microsoft.com/office/officeart/2005/8/layout/list1"/>
    <dgm:cxn modelId="{593A5B2A-3EFD-44FB-817C-27C62C0F6FAC}" type="presParOf" srcId="{9B4C1DB8-5C56-487F-8904-2C10187AB35B}" destId="{04B0A627-B95D-4794-A550-89F9CCFD7FCF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73AD253-CD65-4CD7-BA67-2522122BEB79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6AF6EADB-EDE7-4231-9B1A-5F37D0DF24CF}">
      <dgm:prSet phldrT="[Text]" custT="1"/>
      <dgm:spPr>
        <a:solidFill>
          <a:srgbClr val="9D1E27"/>
        </a:solidFill>
        <a:ln>
          <a:solidFill>
            <a:srgbClr val="9D1E27"/>
          </a:solidFill>
        </a:ln>
      </dgm:spPr>
      <dgm:t>
        <a:bodyPr/>
        <a:lstStyle/>
        <a:p>
          <a:pPr>
            <a:buNone/>
          </a:pPr>
          <a:r>
            <a:rPr lang="en-IN" sz="1000" b="1"/>
            <a:t>Pilot (3–6 </a:t>
          </a:r>
          <a:r>
            <a:rPr lang="en-IN" sz="1000" b="1" err="1"/>
            <a:t>mo</a:t>
          </a:r>
          <a:r>
            <a:rPr lang="en-IN" sz="1000" b="1"/>
            <a:t>)</a:t>
          </a:r>
          <a:endParaRPr lang="en-IN" sz="1000"/>
        </a:p>
      </dgm:t>
    </dgm:pt>
    <dgm:pt modelId="{D4700CD4-44C0-4D76-BAE3-8C7D4E6E72C8}" type="parTrans" cxnId="{46767416-67E2-42B5-A4AE-46F12495BFC2}">
      <dgm:prSet/>
      <dgm:spPr/>
      <dgm:t>
        <a:bodyPr/>
        <a:lstStyle/>
        <a:p>
          <a:endParaRPr lang="en-IN" sz="1000"/>
        </a:p>
      </dgm:t>
    </dgm:pt>
    <dgm:pt modelId="{350B8E97-223C-481E-8699-88CAF62C56B6}" type="sibTrans" cxnId="{46767416-67E2-42B5-A4AE-46F12495BFC2}">
      <dgm:prSet/>
      <dgm:spPr/>
      <dgm:t>
        <a:bodyPr/>
        <a:lstStyle/>
        <a:p>
          <a:endParaRPr lang="en-IN" sz="1000"/>
        </a:p>
      </dgm:t>
    </dgm:pt>
    <dgm:pt modelId="{342527B3-4026-4E41-B1DC-2F5DFA072AA9}">
      <dgm:prSet custT="1"/>
      <dgm:spPr>
        <a:solidFill>
          <a:srgbClr val="9D1E27"/>
        </a:solidFill>
        <a:ln>
          <a:solidFill>
            <a:srgbClr val="9D1E27"/>
          </a:solidFill>
        </a:ln>
      </dgm:spPr>
      <dgm:t>
        <a:bodyPr/>
        <a:lstStyle/>
        <a:p>
          <a:pPr>
            <a:buNone/>
          </a:pPr>
          <a:r>
            <a:rPr lang="en-IN" sz="1000" b="1"/>
            <a:t>Rollout (6–12 </a:t>
          </a:r>
          <a:r>
            <a:rPr lang="en-IN" sz="1000" b="1" err="1"/>
            <a:t>mo</a:t>
          </a:r>
          <a:r>
            <a:rPr lang="en-IN" sz="1000" b="1"/>
            <a:t>):</a:t>
          </a:r>
          <a:endParaRPr lang="en-IN" sz="1000"/>
        </a:p>
      </dgm:t>
    </dgm:pt>
    <dgm:pt modelId="{8994123F-2D23-43DC-8EFE-41F4A4491FF3}" type="parTrans" cxnId="{B2E3E557-0618-4E4E-A42E-0DB4B4FE6154}">
      <dgm:prSet/>
      <dgm:spPr/>
      <dgm:t>
        <a:bodyPr/>
        <a:lstStyle/>
        <a:p>
          <a:endParaRPr lang="en-IN" sz="1000"/>
        </a:p>
      </dgm:t>
    </dgm:pt>
    <dgm:pt modelId="{9D5D5ABC-F0D6-42CF-A1AA-E760AC81F421}" type="sibTrans" cxnId="{B2E3E557-0618-4E4E-A42E-0DB4B4FE6154}">
      <dgm:prSet/>
      <dgm:spPr/>
      <dgm:t>
        <a:bodyPr/>
        <a:lstStyle/>
        <a:p>
          <a:endParaRPr lang="en-IN" sz="1000"/>
        </a:p>
      </dgm:t>
    </dgm:pt>
    <dgm:pt modelId="{814931E1-DD7A-47D8-8F9C-3F31F79530C1}">
      <dgm:prSet custT="1"/>
      <dgm:spPr>
        <a:solidFill>
          <a:srgbClr val="9D1E27"/>
        </a:solidFill>
        <a:ln>
          <a:solidFill>
            <a:srgbClr val="9D1E27"/>
          </a:solidFill>
        </a:ln>
      </dgm:spPr>
      <dgm:t>
        <a:bodyPr/>
        <a:lstStyle/>
        <a:p>
          <a:pPr>
            <a:buNone/>
          </a:pPr>
          <a:r>
            <a:rPr lang="en-IN" sz="1000" b="1"/>
            <a:t>Unit economics</a:t>
          </a:r>
          <a:endParaRPr lang="en-IN" sz="1000"/>
        </a:p>
      </dgm:t>
    </dgm:pt>
    <dgm:pt modelId="{2743DF31-FD6B-40EF-8106-F9CB3ED7D35B}" type="parTrans" cxnId="{AC7D857A-D10D-4C76-9A7D-4F5C2B004007}">
      <dgm:prSet/>
      <dgm:spPr/>
      <dgm:t>
        <a:bodyPr/>
        <a:lstStyle/>
        <a:p>
          <a:endParaRPr lang="en-IN" sz="1000"/>
        </a:p>
      </dgm:t>
    </dgm:pt>
    <dgm:pt modelId="{66C79BEF-315E-47A6-A78E-4FE888BCDD48}" type="sibTrans" cxnId="{AC7D857A-D10D-4C76-9A7D-4F5C2B004007}">
      <dgm:prSet/>
      <dgm:spPr/>
      <dgm:t>
        <a:bodyPr/>
        <a:lstStyle/>
        <a:p>
          <a:endParaRPr lang="en-IN" sz="1000"/>
        </a:p>
      </dgm:t>
    </dgm:pt>
    <dgm:pt modelId="{8685FF74-E4D7-4B67-B600-90A39BCB6ACB}">
      <dgm:prSet phldrT="[Text]" custT="1"/>
      <dgm:spPr>
        <a:solidFill>
          <a:srgbClr val="F6CDD3">
            <a:alpha val="90000"/>
          </a:srgbClr>
        </a:solidFill>
        <a:ln>
          <a:solidFill>
            <a:srgbClr val="9D1E27"/>
          </a:solidFill>
        </a:ln>
      </dgm:spPr>
      <dgm:t>
        <a:bodyPr/>
        <a:lstStyle/>
        <a:p>
          <a:pPr>
            <a:buNone/>
          </a:pPr>
          <a:r>
            <a:rPr lang="en-IN" sz="1000" b="1"/>
            <a:t>4–8 GPU servers</a:t>
          </a:r>
          <a:r>
            <a:rPr lang="en-IN" sz="1000"/>
            <a:t> (H100/L40S/A100 class), </a:t>
          </a:r>
          <a:r>
            <a:rPr lang="en-IN" sz="1000" b="1"/>
            <a:t>2–3 index/API nodes</a:t>
          </a:r>
          <a:r>
            <a:rPr lang="en-IN" sz="1000"/>
            <a:t>, ~</a:t>
          </a:r>
          <a:r>
            <a:rPr lang="en-IN" sz="1000" b="1"/>
            <a:t>100 TB</a:t>
          </a:r>
          <a:r>
            <a:rPr lang="en-IN" sz="1000"/>
            <a:t> storage → </a:t>
          </a:r>
          <a:r>
            <a:rPr lang="en-IN" sz="1000" b="1"/>
            <a:t>200–500 TPS</a:t>
          </a:r>
          <a:r>
            <a:rPr lang="en-IN" sz="1000"/>
            <a:t>.</a:t>
          </a:r>
        </a:p>
      </dgm:t>
    </dgm:pt>
    <dgm:pt modelId="{417722C3-CC9B-4C25-A79D-6AADBDF20424}" type="parTrans" cxnId="{C4741053-1531-44B7-A310-99355F6AF87C}">
      <dgm:prSet/>
      <dgm:spPr/>
      <dgm:t>
        <a:bodyPr/>
        <a:lstStyle/>
        <a:p>
          <a:endParaRPr lang="en-IN" sz="1000"/>
        </a:p>
      </dgm:t>
    </dgm:pt>
    <dgm:pt modelId="{D233CB71-32C3-4F56-AB10-83E8AB3419FD}" type="sibTrans" cxnId="{C4741053-1531-44B7-A310-99355F6AF87C}">
      <dgm:prSet/>
      <dgm:spPr/>
      <dgm:t>
        <a:bodyPr/>
        <a:lstStyle/>
        <a:p>
          <a:endParaRPr lang="en-IN" sz="1000"/>
        </a:p>
      </dgm:t>
    </dgm:pt>
    <dgm:pt modelId="{A5772075-AA19-41EB-9F98-B912E79659AB}">
      <dgm:prSet custT="1"/>
      <dgm:spPr>
        <a:solidFill>
          <a:srgbClr val="F6CDD3">
            <a:alpha val="90000"/>
          </a:srgbClr>
        </a:solidFill>
        <a:ln>
          <a:solidFill>
            <a:srgbClr val="9D1E27"/>
          </a:solidFill>
        </a:ln>
      </dgm:spPr>
      <dgm:t>
        <a:bodyPr/>
        <a:lstStyle/>
        <a:p>
          <a:pPr>
            <a:buNone/>
          </a:pPr>
          <a:r>
            <a:rPr lang="en-IN" sz="1000" b="1"/>
            <a:t>15–30 GPU servers</a:t>
          </a:r>
          <a:r>
            <a:rPr lang="en-IN" sz="1000"/>
            <a:t>, </a:t>
          </a:r>
          <a:r>
            <a:rPr lang="en-IN" sz="1000" b="1"/>
            <a:t>6–10 index/API nodes</a:t>
          </a:r>
          <a:r>
            <a:rPr lang="en-IN" sz="1000"/>
            <a:t>, </a:t>
          </a:r>
          <a:r>
            <a:rPr lang="en-IN" sz="1000" b="1"/>
            <a:t>300–600 TB</a:t>
          </a:r>
          <a:r>
            <a:rPr lang="en-IN" sz="1000"/>
            <a:t> storage → </a:t>
          </a:r>
          <a:r>
            <a:rPr lang="en-IN" sz="1000" b="1"/>
            <a:t>1–2k TPS</a:t>
          </a:r>
          <a:r>
            <a:rPr lang="en-IN" sz="1000"/>
            <a:t>.</a:t>
          </a:r>
        </a:p>
      </dgm:t>
    </dgm:pt>
    <dgm:pt modelId="{C6BAB0B2-3867-43BD-9BE2-5EB69E301E0E}" type="parTrans" cxnId="{79960898-3C9D-43F7-ADB5-E69CC29DCB70}">
      <dgm:prSet/>
      <dgm:spPr/>
      <dgm:t>
        <a:bodyPr/>
        <a:lstStyle/>
        <a:p>
          <a:endParaRPr lang="en-IN" sz="1000"/>
        </a:p>
      </dgm:t>
    </dgm:pt>
    <dgm:pt modelId="{76BF5B35-92C7-4899-877D-AF0C89DB928F}" type="sibTrans" cxnId="{79960898-3C9D-43F7-ADB5-E69CC29DCB70}">
      <dgm:prSet/>
      <dgm:spPr/>
      <dgm:t>
        <a:bodyPr/>
        <a:lstStyle/>
        <a:p>
          <a:endParaRPr lang="en-IN" sz="1000"/>
        </a:p>
      </dgm:t>
    </dgm:pt>
    <dgm:pt modelId="{1CD0A3B4-C492-4795-9A2A-2FB3963160FB}">
      <dgm:prSet phldrT="[Text]" custT="1"/>
      <dgm:spPr>
        <a:solidFill>
          <a:srgbClr val="F6CDD3">
            <a:alpha val="90000"/>
          </a:srgbClr>
        </a:solidFill>
        <a:ln>
          <a:solidFill>
            <a:srgbClr val="9D1E27"/>
          </a:solidFill>
        </a:ln>
      </dgm:spPr>
      <dgm:t>
        <a:bodyPr/>
        <a:lstStyle/>
        <a:p>
          <a:pPr>
            <a:buNone/>
          </a:pPr>
          <a:r>
            <a:rPr lang="en-IN" sz="1000" b="1"/>
            <a:t>Capex: US$1–3M</a:t>
          </a:r>
          <a:r>
            <a:rPr lang="en-IN" sz="1000"/>
            <a:t> (HW + licenses). </a:t>
          </a:r>
          <a:r>
            <a:rPr lang="en-IN" sz="1000" b="1" err="1"/>
            <a:t>Opex</a:t>
          </a:r>
          <a:r>
            <a:rPr lang="en-IN" sz="1000" b="1"/>
            <a:t>/yr:</a:t>
          </a:r>
          <a:r>
            <a:rPr lang="en-IN" sz="1000"/>
            <a:t> </a:t>
          </a:r>
          <a:r>
            <a:rPr lang="en-IN" sz="1000" b="1"/>
            <a:t>US$0.5–0.9M</a:t>
          </a:r>
          <a:r>
            <a:rPr lang="en-IN" sz="1000"/>
            <a:t> (power/cooling/support, 6–8 FTE).</a:t>
          </a:r>
        </a:p>
      </dgm:t>
    </dgm:pt>
    <dgm:pt modelId="{20B9E728-A32A-4433-9818-7C57A33544AF}" type="parTrans" cxnId="{C0DEBD65-5BC8-440C-8ED3-B89BFC6B8C98}">
      <dgm:prSet/>
      <dgm:spPr/>
      <dgm:t>
        <a:bodyPr/>
        <a:lstStyle/>
        <a:p>
          <a:endParaRPr lang="en-IN" sz="1000"/>
        </a:p>
      </dgm:t>
    </dgm:pt>
    <dgm:pt modelId="{436B5AAA-0ABE-42B4-8E6F-B4A0386D7419}" type="sibTrans" cxnId="{C0DEBD65-5BC8-440C-8ED3-B89BFC6B8C98}">
      <dgm:prSet/>
      <dgm:spPr/>
      <dgm:t>
        <a:bodyPr/>
        <a:lstStyle/>
        <a:p>
          <a:endParaRPr lang="en-IN" sz="1000"/>
        </a:p>
      </dgm:t>
    </dgm:pt>
    <dgm:pt modelId="{72E06D0A-1D1C-454B-9F6D-66D212608357}">
      <dgm:prSet custT="1"/>
      <dgm:spPr>
        <a:solidFill>
          <a:srgbClr val="F6CDD3">
            <a:alpha val="90000"/>
          </a:srgbClr>
        </a:solidFill>
        <a:ln>
          <a:solidFill>
            <a:srgbClr val="9D1E27"/>
          </a:solidFill>
        </a:ln>
      </dgm:spPr>
      <dgm:t>
        <a:bodyPr/>
        <a:lstStyle/>
        <a:p>
          <a:pPr>
            <a:buNone/>
          </a:pPr>
          <a:r>
            <a:rPr lang="en-IN" sz="1000" b="1"/>
            <a:t>Capex:</a:t>
          </a:r>
          <a:r>
            <a:rPr lang="en-IN" sz="1000"/>
            <a:t> </a:t>
          </a:r>
          <a:r>
            <a:rPr lang="en-IN" sz="1000" b="1"/>
            <a:t>US$10–25M</a:t>
          </a:r>
          <a:r>
            <a:rPr lang="en-IN" sz="1000"/>
            <a:t>. </a:t>
          </a:r>
          <a:r>
            <a:rPr lang="en-IN" sz="1000" b="1"/>
            <a:t>Opex/yr:</a:t>
          </a:r>
          <a:r>
            <a:rPr lang="en-IN" sz="1000"/>
            <a:t> </a:t>
          </a:r>
          <a:r>
            <a:rPr lang="en-IN" sz="1000" b="1"/>
            <a:t>US$2–4M</a:t>
          </a:r>
          <a:r>
            <a:rPr lang="en-IN" sz="1000"/>
            <a:t> (8–12 FTE).</a:t>
          </a:r>
        </a:p>
      </dgm:t>
    </dgm:pt>
    <dgm:pt modelId="{F0710B7B-F9BF-44CB-9EE6-6248B934E4EB}" type="parTrans" cxnId="{C88EC027-BA1C-44CA-94FA-F588C9FC7F8D}">
      <dgm:prSet/>
      <dgm:spPr/>
      <dgm:t>
        <a:bodyPr/>
        <a:lstStyle/>
        <a:p>
          <a:endParaRPr lang="en-IN" sz="1000"/>
        </a:p>
      </dgm:t>
    </dgm:pt>
    <dgm:pt modelId="{17F46288-D02D-4ADF-9B45-AA28A5972B1E}" type="sibTrans" cxnId="{C88EC027-BA1C-44CA-94FA-F588C9FC7F8D}">
      <dgm:prSet/>
      <dgm:spPr/>
      <dgm:t>
        <a:bodyPr/>
        <a:lstStyle/>
        <a:p>
          <a:endParaRPr lang="en-IN" sz="1000"/>
        </a:p>
      </dgm:t>
    </dgm:pt>
    <dgm:pt modelId="{F1C7F6A6-222E-47DA-83FE-95D78B9265E4}">
      <dgm:prSet custT="1"/>
      <dgm:spPr>
        <a:solidFill>
          <a:srgbClr val="F6CDD3">
            <a:alpha val="90000"/>
          </a:srgbClr>
        </a:solidFill>
        <a:ln>
          <a:solidFill>
            <a:srgbClr val="9D1E27"/>
          </a:solidFill>
        </a:ln>
      </dgm:spPr>
      <dgm:t>
        <a:bodyPr/>
        <a:lstStyle/>
        <a:p>
          <a:pPr>
            <a:buNone/>
          </a:pPr>
          <a:r>
            <a:rPr lang="en-IN" sz="1000"/>
            <a:t>8-GPU server ≈ </a:t>
          </a:r>
          <a:r>
            <a:rPr lang="en-IN" sz="1000" b="1"/>
            <a:t>US$150–450k</a:t>
          </a:r>
          <a:r>
            <a:rPr lang="en-IN" sz="1000"/>
            <a:t> (vendor/spec dependent); vector DB license/support if commercial.</a:t>
          </a:r>
        </a:p>
      </dgm:t>
    </dgm:pt>
    <dgm:pt modelId="{75A41100-F4E2-42B9-B8A1-C712FAF8BBB9}" type="parTrans" cxnId="{F526A26F-27CD-4284-89DE-AB9564E54388}">
      <dgm:prSet/>
      <dgm:spPr/>
      <dgm:t>
        <a:bodyPr/>
        <a:lstStyle/>
        <a:p>
          <a:endParaRPr lang="en-IN" sz="1000"/>
        </a:p>
      </dgm:t>
    </dgm:pt>
    <dgm:pt modelId="{9351ACEA-4380-47D7-B193-5C1E8A87B9A7}" type="sibTrans" cxnId="{F526A26F-27CD-4284-89DE-AB9564E54388}">
      <dgm:prSet/>
      <dgm:spPr/>
      <dgm:t>
        <a:bodyPr/>
        <a:lstStyle/>
        <a:p>
          <a:endParaRPr lang="en-IN" sz="1000"/>
        </a:p>
      </dgm:t>
    </dgm:pt>
    <dgm:pt modelId="{D4D5698E-EDD7-444B-B8D4-B41FD077194F}" type="pres">
      <dgm:prSet presAssocID="{773AD253-CD65-4CD7-BA67-2522122BEB79}" presName="linearFlow" presStyleCnt="0">
        <dgm:presLayoutVars>
          <dgm:dir/>
          <dgm:animLvl val="lvl"/>
          <dgm:resizeHandles val="exact"/>
        </dgm:presLayoutVars>
      </dgm:prSet>
      <dgm:spPr/>
    </dgm:pt>
    <dgm:pt modelId="{80F03B83-2936-4CBA-BD4F-FB4567569608}" type="pres">
      <dgm:prSet presAssocID="{6AF6EADB-EDE7-4231-9B1A-5F37D0DF24CF}" presName="composite" presStyleCnt="0"/>
      <dgm:spPr/>
    </dgm:pt>
    <dgm:pt modelId="{18F8C1E3-45EE-4040-87BD-65B481D0E891}" type="pres">
      <dgm:prSet presAssocID="{6AF6EADB-EDE7-4231-9B1A-5F37D0DF24CF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1DD619A0-61B7-43AF-85B9-B2DE8CF5B254}" type="pres">
      <dgm:prSet presAssocID="{6AF6EADB-EDE7-4231-9B1A-5F37D0DF24CF}" presName="descendantText" presStyleLbl="alignAcc1" presStyleIdx="0" presStyleCnt="3">
        <dgm:presLayoutVars>
          <dgm:bulletEnabled val="1"/>
        </dgm:presLayoutVars>
      </dgm:prSet>
      <dgm:spPr/>
    </dgm:pt>
    <dgm:pt modelId="{5636DB38-ED98-41B4-965C-D7176CEA5B77}" type="pres">
      <dgm:prSet presAssocID="{350B8E97-223C-481E-8699-88CAF62C56B6}" presName="sp" presStyleCnt="0"/>
      <dgm:spPr/>
    </dgm:pt>
    <dgm:pt modelId="{DAF37A8A-F813-4218-A5CC-0625F8CE4B21}" type="pres">
      <dgm:prSet presAssocID="{342527B3-4026-4E41-B1DC-2F5DFA072AA9}" presName="composite" presStyleCnt="0"/>
      <dgm:spPr/>
    </dgm:pt>
    <dgm:pt modelId="{67D0890B-584B-41B6-BB24-DB68D8AC60B2}" type="pres">
      <dgm:prSet presAssocID="{342527B3-4026-4E41-B1DC-2F5DFA072AA9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D567F680-ED12-40D4-A75D-2B83000CA8CA}" type="pres">
      <dgm:prSet presAssocID="{342527B3-4026-4E41-B1DC-2F5DFA072AA9}" presName="descendantText" presStyleLbl="alignAcc1" presStyleIdx="1" presStyleCnt="3">
        <dgm:presLayoutVars>
          <dgm:bulletEnabled val="1"/>
        </dgm:presLayoutVars>
      </dgm:prSet>
      <dgm:spPr/>
    </dgm:pt>
    <dgm:pt modelId="{8712F200-08A4-43D6-AADD-BE4E2077633F}" type="pres">
      <dgm:prSet presAssocID="{9D5D5ABC-F0D6-42CF-A1AA-E760AC81F421}" presName="sp" presStyleCnt="0"/>
      <dgm:spPr/>
    </dgm:pt>
    <dgm:pt modelId="{FFF45B69-F706-42C0-9870-D693F0A73240}" type="pres">
      <dgm:prSet presAssocID="{814931E1-DD7A-47D8-8F9C-3F31F79530C1}" presName="composite" presStyleCnt="0"/>
      <dgm:spPr/>
    </dgm:pt>
    <dgm:pt modelId="{61981E1D-1A8F-4CE0-B6E9-F5CBBAC0E5E1}" type="pres">
      <dgm:prSet presAssocID="{814931E1-DD7A-47D8-8F9C-3F31F79530C1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0DFD337E-5DBD-4AB1-BF1C-6418947E0A0C}" type="pres">
      <dgm:prSet presAssocID="{814931E1-DD7A-47D8-8F9C-3F31F79530C1}" presName="descendantText" presStyleLbl="alignAcc1" presStyleIdx="2" presStyleCnt="3" custLinFactNeighborY="2268">
        <dgm:presLayoutVars>
          <dgm:bulletEnabled val="1"/>
        </dgm:presLayoutVars>
      </dgm:prSet>
      <dgm:spPr/>
    </dgm:pt>
  </dgm:ptLst>
  <dgm:cxnLst>
    <dgm:cxn modelId="{46767416-67E2-42B5-A4AE-46F12495BFC2}" srcId="{773AD253-CD65-4CD7-BA67-2522122BEB79}" destId="{6AF6EADB-EDE7-4231-9B1A-5F37D0DF24CF}" srcOrd="0" destOrd="0" parTransId="{D4700CD4-44C0-4D76-BAE3-8C7D4E6E72C8}" sibTransId="{350B8E97-223C-481E-8699-88CAF62C56B6}"/>
    <dgm:cxn modelId="{C88EC027-BA1C-44CA-94FA-F588C9FC7F8D}" srcId="{342527B3-4026-4E41-B1DC-2F5DFA072AA9}" destId="{72E06D0A-1D1C-454B-9F6D-66D212608357}" srcOrd="1" destOrd="0" parTransId="{F0710B7B-F9BF-44CB-9EE6-6248B934E4EB}" sibTransId="{17F46288-D02D-4ADF-9B45-AA28A5972B1E}"/>
    <dgm:cxn modelId="{62EC512B-EE21-4D31-9FCC-598A41B5479F}" type="presOf" srcId="{1CD0A3B4-C492-4795-9A2A-2FB3963160FB}" destId="{1DD619A0-61B7-43AF-85B9-B2DE8CF5B254}" srcOrd="0" destOrd="1" presId="urn:microsoft.com/office/officeart/2005/8/layout/chevron2"/>
    <dgm:cxn modelId="{C0DEBD65-5BC8-440C-8ED3-B89BFC6B8C98}" srcId="{6AF6EADB-EDE7-4231-9B1A-5F37D0DF24CF}" destId="{1CD0A3B4-C492-4795-9A2A-2FB3963160FB}" srcOrd="1" destOrd="0" parTransId="{20B9E728-A32A-4433-9818-7C57A33544AF}" sibTransId="{436B5AAA-0ABE-42B4-8E6F-B4A0386D7419}"/>
    <dgm:cxn modelId="{F526A26F-27CD-4284-89DE-AB9564E54388}" srcId="{814931E1-DD7A-47D8-8F9C-3F31F79530C1}" destId="{F1C7F6A6-222E-47DA-83FE-95D78B9265E4}" srcOrd="0" destOrd="0" parTransId="{75A41100-F4E2-42B9-B8A1-C712FAF8BBB9}" sibTransId="{9351ACEA-4380-47D7-B193-5C1E8A87B9A7}"/>
    <dgm:cxn modelId="{C4741053-1531-44B7-A310-99355F6AF87C}" srcId="{6AF6EADB-EDE7-4231-9B1A-5F37D0DF24CF}" destId="{8685FF74-E4D7-4B67-B600-90A39BCB6ACB}" srcOrd="0" destOrd="0" parTransId="{417722C3-CC9B-4C25-A79D-6AADBDF20424}" sibTransId="{D233CB71-32C3-4F56-AB10-83E8AB3419FD}"/>
    <dgm:cxn modelId="{B2E3E557-0618-4E4E-A42E-0DB4B4FE6154}" srcId="{773AD253-CD65-4CD7-BA67-2522122BEB79}" destId="{342527B3-4026-4E41-B1DC-2F5DFA072AA9}" srcOrd="1" destOrd="0" parTransId="{8994123F-2D23-43DC-8EFE-41F4A4491FF3}" sibTransId="{9D5D5ABC-F0D6-42CF-A1AA-E760AC81F421}"/>
    <dgm:cxn modelId="{AC7D857A-D10D-4C76-9A7D-4F5C2B004007}" srcId="{773AD253-CD65-4CD7-BA67-2522122BEB79}" destId="{814931E1-DD7A-47D8-8F9C-3F31F79530C1}" srcOrd="2" destOrd="0" parTransId="{2743DF31-FD6B-40EF-8106-F9CB3ED7D35B}" sibTransId="{66C79BEF-315E-47A6-A78E-4FE888BCDD48}"/>
    <dgm:cxn modelId="{79960898-3C9D-43F7-ADB5-E69CC29DCB70}" srcId="{342527B3-4026-4E41-B1DC-2F5DFA072AA9}" destId="{A5772075-AA19-41EB-9F98-B912E79659AB}" srcOrd="0" destOrd="0" parTransId="{C6BAB0B2-3867-43BD-9BE2-5EB69E301E0E}" sibTransId="{76BF5B35-92C7-4899-877D-AF0C89DB928F}"/>
    <dgm:cxn modelId="{502F369A-0958-49EB-B39F-1DCD2E1A4D14}" type="presOf" srcId="{72E06D0A-1D1C-454B-9F6D-66D212608357}" destId="{D567F680-ED12-40D4-A75D-2B83000CA8CA}" srcOrd="0" destOrd="1" presId="urn:microsoft.com/office/officeart/2005/8/layout/chevron2"/>
    <dgm:cxn modelId="{B7A3E9C6-BE2E-4FC2-A79B-CF25B8576531}" type="presOf" srcId="{F1C7F6A6-222E-47DA-83FE-95D78B9265E4}" destId="{0DFD337E-5DBD-4AB1-BF1C-6418947E0A0C}" srcOrd="0" destOrd="0" presId="urn:microsoft.com/office/officeart/2005/8/layout/chevron2"/>
    <dgm:cxn modelId="{61E03CC9-A0D1-4AC9-8350-07CC12D40959}" type="presOf" srcId="{8685FF74-E4D7-4B67-B600-90A39BCB6ACB}" destId="{1DD619A0-61B7-43AF-85B9-B2DE8CF5B254}" srcOrd="0" destOrd="0" presId="urn:microsoft.com/office/officeart/2005/8/layout/chevron2"/>
    <dgm:cxn modelId="{CAAB2DD0-258D-48E9-8E8F-0F394DBC16BD}" type="presOf" srcId="{A5772075-AA19-41EB-9F98-B912E79659AB}" destId="{D567F680-ED12-40D4-A75D-2B83000CA8CA}" srcOrd="0" destOrd="0" presId="urn:microsoft.com/office/officeart/2005/8/layout/chevron2"/>
    <dgm:cxn modelId="{9D5053D2-C62D-4C96-91D0-110BC7AF14A6}" type="presOf" srcId="{342527B3-4026-4E41-B1DC-2F5DFA072AA9}" destId="{67D0890B-584B-41B6-BB24-DB68D8AC60B2}" srcOrd="0" destOrd="0" presId="urn:microsoft.com/office/officeart/2005/8/layout/chevron2"/>
    <dgm:cxn modelId="{8F163FEB-5673-403C-851B-32FDA9E6E6D5}" type="presOf" srcId="{6AF6EADB-EDE7-4231-9B1A-5F37D0DF24CF}" destId="{18F8C1E3-45EE-4040-87BD-65B481D0E891}" srcOrd="0" destOrd="0" presId="urn:microsoft.com/office/officeart/2005/8/layout/chevron2"/>
    <dgm:cxn modelId="{B65DA3F2-EF4E-4264-960A-966A44B2D645}" type="presOf" srcId="{814931E1-DD7A-47D8-8F9C-3F31F79530C1}" destId="{61981E1D-1A8F-4CE0-B6E9-F5CBBAC0E5E1}" srcOrd="0" destOrd="0" presId="urn:microsoft.com/office/officeart/2005/8/layout/chevron2"/>
    <dgm:cxn modelId="{79B8FCF2-202B-433C-BBB7-723442CE65F6}" type="presOf" srcId="{773AD253-CD65-4CD7-BA67-2522122BEB79}" destId="{D4D5698E-EDD7-444B-B8D4-B41FD077194F}" srcOrd="0" destOrd="0" presId="urn:microsoft.com/office/officeart/2005/8/layout/chevron2"/>
    <dgm:cxn modelId="{97ED7D6E-2784-423C-B9AE-9169A779AA59}" type="presParOf" srcId="{D4D5698E-EDD7-444B-B8D4-B41FD077194F}" destId="{80F03B83-2936-4CBA-BD4F-FB4567569608}" srcOrd="0" destOrd="0" presId="urn:microsoft.com/office/officeart/2005/8/layout/chevron2"/>
    <dgm:cxn modelId="{0652AC5A-3076-4930-883C-57FD9A33280F}" type="presParOf" srcId="{80F03B83-2936-4CBA-BD4F-FB4567569608}" destId="{18F8C1E3-45EE-4040-87BD-65B481D0E891}" srcOrd="0" destOrd="0" presId="urn:microsoft.com/office/officeart/2005/8/layout/chevron2"/>
    <dgm:cxn modelId="{4DC0339B-03E0-4F9A-A558-296912DB24F7}" type="presParOf" srcId="{80F03B83-2936-4CBA-BD4F-FB4567569608}" destId="{1DD619A0-61B7-43AF-85B9-B2DE8CF5B254}" srcOrd="1" destOrd="0" presId="urn:microsoft.com/office/officeart/2005/8/layout/chevron2"/>
    <dgm:cxn modelId="{37F54BA0-5181-427D-A7F2-D534BABF9B2D}" type="presParOf" srcId="{D4D5698E-EDD7-444B-B8D4-B41FD077194F}" destId="{5636DB38-ED98-41B4-965C-D7176CEA5B77}" srcOrd="1" destOrd="0" presId="urn:microsoft.com/office/officeart/2005/8/layout/chevron2"/>
    <dgm:cxn modelId="{2E71604D-8D02-4D42-80E2-4798D0F67D73}" type="presParOf" srcId="{D4D5698E-EDD7-444B-B8D4-B41FD077194F}" destId="{DAF37A8A-F813-4218-A5CC-0625F8CE4B21}" srcOrd="2" destOrd="0" presId="urn:microsoft.com/office/officeart/2005/8/layout/chevron2"/>
    <dgm:cxn modelId="{B9AC883F-C095-4873-B2E2-648A8C6A78A0}" type="presParOf" srcId="{DAF37A8A-F813-4218-A5CC-0625F8CE4B21}" destId="{67D0890B-584B-41B6-BB24-DB68D8AC60B2}" srcOrd="0" destOrd="0" presId="urn:microsoft.com/office/officeart/2005/8/layout/chevron2"/>
    <dgm:cxn modelId="{11BC7D0F-E495-44F1-9F64-B8FB198089A2}" type="presParOf" srcId="{DAF37A8A-F813-4218-A5CC-0625F8CE4B21}" destId="{D567F680-ED12-40D4-A75D-2B83000CA8CA}" srcOrd="1" destOrd="0" presId="urn:microsoft.com/office/officeart/2005/8/layout/chevron2"/>
    <dgm:cxn modelId="{AFCD6D08-6A60-48BE-A192-55361F308422}" type="presParOf" srcId="{D4D5698E-EDD7-444B-B8D4-B41FD077194F}" destId="{8712F200-08A4-43D6-AADD-BE4E2077633F}" srcOrd="3" destOrd="0" presId="urn:microsoft.com/office/officeart/2005/8/layout/chevron2"/>
    <dgm:cxn modelId="{AE82F107-A39F-4597-93B4-3BEFBEC9B2D9}" type="presParOf" srcId="{D4D5698E-EDD7-444B-B8D4-B41FD077194F}" destId="{FFF45B69-F706-42C0-9870-D693F0A73240}" srcOrd="4" destOrd="0" presId="urn:microsoft.com/office/officeart/2005/8/layout/chevron2"/>
    <dgm:cxn modelId="{159EA564-C22E-40BF-8DFC-067E2D841268}" type="presParOf" srcId="{FFF45B69-F706-42C0-9870-D693F0A73240}" destId="{61981E1D-1A8F-4CE0-B6E9-F5CBBAC0E5E1}" srcOrd="0" destOrd="0" presId="urn:microsoft.com/office/officeart/2005/8/layout/chevron2"/>
    <dgm:cxn modelId="{8D97FB47-39DE-4ABD-B68C-A54983B17CBA}" type="presParOf" srcId="{FFF45B69-F706-42C0-9870-D693F0A73240}" destId="{0DFD337E-5DBD-4AB1-BF1C-6418947E0A0C}" srcOrd="1" destOrd="0" presId="urn:microsoft.com/office/officeart/2005/8/layout/chevron2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5CE080C-A476-4B37-A464-E5CEA065617F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B13BB7E2-1423-4A1E-A998-6F00845B6839}">
      <dgm:prSet phldrT="[Text]" phldr="0" custT="1"/>
      <dgm:spPr>
        <a:solidFill>
          <a:srgbClr val="9D1E27"/>
        </a:solidFill>
        <a:ln>
          <a:noFill/>
        </a:ln>
      </dgm:spPr>
      <dgm:t>
        <a:bodyPr/>
        <a:lstStyle/>
        <a:p>
          <a:r>
            <a:rPr lang="en-US" sz="1200" b="1"/>
            <a:t>Hallucinations</a:t>
          </a:r>
          <a:endParaRPr lang="en-IN" sz="1200"/>
        </a:p>
      </dgm:t>
    </dgm:pt>
    <dgm:pt modelId="{CD73D0BD-B768-49BD-8896-09A445F5F16D}" type="parTrans" cxnId="{F8585A75-969E-40E4-967B-B38B870BBC08}">
      <dgm:prSet/>
      <dgm:spPr/>
      <dgm:t>
        <a:bodyPr/>
        <a:lstStyle/>
        <a:p>
          <a:endParaRPr lang="en-IN" sz="1200"/>
        </a:p>
      </dgm:t>
    </dgm:pt>
    <dgm:pt modelId="{E93BF458-38F2-48D3-904A-A92EE70F7DDD}" type="sibTrans" cxnId="{F8585A75-969E-40E4-967B-B38B870BBC08}">
      <dgm:prSet/>
      <dgm:spPr/>
      <dgm:t>
        <a:bodyPr/>
        <a:lstStyle/>
        <a:p>
          <a:endParaRPr lang="en-IN" sz="1200"/>
        </a:p>
      </dgm:t>
    </dgm:pt>
    <dgm:pt modelId="{5B0E6BFA-FEF8-4887-BE1A-E3CEFB709264}">
      <dgm:prSet custT="1"/>
      <dgm:spPr>
        <a:solidFill>
          <a:srgbClr val="9D1E27"/>
        </a:solidFill>
        <a:ln>
          <a:noFill/>
        </a:ln>
      </dgm:spPr>
      <dgm:t>
        <a:bodyPr/>
        <a:lstStyle/>
        <a:p>
          <a:pPr>
            <a:buNone/>
          </a:pPr>
          <a:r>
            <a:rPr lang="en-IN" sz="1200" b="1"/>
            <a:t>PII/Access leakage</a:t>
          </a:r>
          <a:endParaRPr lang="en-IN" sz="1200"/>
        </a:p>
      </dgm:t>
    </dgm:pt>
    <dgm:pt modelId="{B8DB320C-A670-48A0-92F3-7DF1BB36C0BB}" type="parTrans" cxnId="{4796C469-63CC-485B-A8A1-A3E0B7A3344A}">
      <dgm:prSet/>
      <dgm:spPr/>
      <dgm:t>
        <a:bodyPr/>
        <a:lstStyle/>
        <a:p>
          <a:endParaRPr lang="en-IN" sz="1200"/>
        </a:p>
      </dgm:t>
    </dgm:pt>
    <dgm:pt modelId="{A499D9CE-3FD1-4CD1-BDEE-5F7625E38A5C}" type="sibTrans" cxnId="{4796C469-63CC-485B-A8A1-A3E0B7A3344A}">
      <dgm:prSet/>
      <dgm:spPr/>
      <dgm:t>
        <a:bodyPr/>
        <a:lstStyle/>
        <a:p>
          <a:endParaRPr lang="en-IN" sz="1200"/>
        </a:p>
      </dgm:t>
    </dgm:pt>
    <dgm:pt modelId="{80FFD376-3B70-490D-A295-B84070C6581C}">
      <dgm:prSet custT="1"/>
      <dgm:spPr>
        <a:solidFill>
          <a:srgbClr val="9D1E27"/>
        </a:solidFill>
        <a:ln>
          <a:noFill/>
        </a:ln>
      </dgm:spPr>
      <dgm:t>
        <a:bodyPr/>
        <a:lstStyle/>
        <a:p>
          <a:pPr>
            <a:buNone/>
          </a:pPr>
          <a:r>
            <a:rPr lang="en-US" sz="1200" b="1"/>
            <a:t>Latency</a:t>
          </a:r>
          <a:endParaRPr lang="en-US" sz="1200"/>
        </a:p>
      </dgm:t>
    </dgm:pt>
    <dgm:pt modelId="{06889F74-1616-4E28-BECC-81D23A187C99}" type="parTrans" cxnId="{DA07E6DA-434D-4331-8804-B6F5916ED381}">
      <dgm:prSet/>
      <dgm:spPr/>
      <dgm:t>
        <a:bodyPr/>
        <a:lstStyle/>
        <a:p>
          <a:endParaRPr lang="en-IN" sz="1200"/>
        </a:p>
      </dgm:t>
    </dgm:pt>
    <dgm:pt modelId="{9AD37FC8-2D50-487D-8266-89F5D9D0A619}" type="sibTrans" cxnId="{DA07E6DA-434D-4331-8804-B6F5916ED381}">
      <dgm:prSet/>
      <dgm:spPr/>
      <dgm:t>
        <a:bodyPr/>
        <a:lstStyle/>
        <a:p>
          <a:endParaRPr lang="en-IN" sz="1200"/>
        </a:p>
      </dgm:t>
    </dgm:pt>
    <dgm:pt modelId="{5E7577EC-DEE3-4613-970F-B9D2CCB1A101}">
      <dgm:prSet custT="1"/>
      <dgm:spPr>
        <a:solidFill>
          <a:srgbClr val="9D1E27"/>
        </a:solidFill>
        <a:ln>
          <a:noFill/>
        </a:ln>
      </dgm:spPr>
      <dgm:t>
        <a:bodyPr/>
        <a:lstStyle/>
        <a:p>
          <a:pPr>
            <a:buNone/>
          </a:pPr>
          <a:r>
            <a:rPr lang="en-US" sz="1200" b="1"/>
            <a:t>Model drift/compliance</a:t>
          </a:r>
          <a:endParaRPr lang="en-US" sz="1200"/>
        </a:p>
      </dgm:t>
    </dgm:pt>
    <dgm:pt modelId="{BE20F095-5D98-4201-A68A-39F520B11407}" type="parTrans" cxnId="{2448AA63-7D02-4CF4-91F7-984682DAC597}">
      <dgm:prSet/>
      <dgm:spPr/>
      <dgm:t>
        <a:bodyPr/>
        <a:lstStyle/>
        <a:p>
          <a:endParaRPr lang="en-IN" sz="1200"/>
        </a:p>
      </dgm:t>
    </dgm:pt>
    <dgm:pt modelId="{5EC63D03-B818-45FA-8722-32F3ED60E684}" type="sibTrans" cxnId="{2448AA63-7D02-4CF4-91F7-984682DAC597}">
      <dgm:prSet/>
      <dgm:spPr/>
      <dgm:t>
        <a:bodyPr/>
        <a:lstStyle/>
        <a:p>
          <a:endParaRPr lang="en-IN" sz="1200"/>
        </a:p>
      </dgm:t>
    </dgm:pt>
    <dgm:pt modelId="{FECAFD00-3C33-48CA-8A52-CB48BB99CFCA}">
      <dgm:prSet custT="1"/>
      <dgm:spPr>
        <a:solidFill>
          <a:srgbClr val="F6CDD3"/>
        </a:solidFill>
        <a:ln>
          <a:solidFill>
            <a:srgbClr val="9D1E27">
              <a:alpha val="90000"/>
            </a:srgbClr>
          </a:solidFill>
        </a:ln>
      </dgm:spPr>
      <dgm:t>
        <a:bodyPr/>
        <a:lstStyle/>
        <a:p>
          <a:pPr>
            <a:buNone/>
          </a:pPr>
          <a:r>
            <a:rPr lang="en-IN" sz="1200" b="1"/>
            <a:t>Row-/doc-level </a:t>
          </a:r>
          <a:r>
            <a:rPr lang="en-IN" sz="1200" b="1" err="1"/>
            <a:t>AuthZ</a:t>
          </a:r>
          <a:r>
            <a:rPr lang="en-IN" sz="1200"/>
            <a:t> pre-retrieval, encryption in transit/at rest, output redaction, full audit.</a:t>
          </a:r>
        </a:p>
      </dgm:t>
    </dgm:pt>
    <dgm:pt modelId="{DE9F666D-E480-4C10-A611-27D8E6126F91}" type="parTrans" cxnId="{6A829B45-0459-4D1A-8D61-8245B6ACE9B7}">
      <dgm:prSet/>
      <dgm:spPr/>
      <dgm:t>
        <a:bodyPr/>
        <a:lstStyle/>
        <a:p>
          <a:endParaRPr lang="en-IN" sz="1200"/>
        </a:p>
      </dgm:t>
    </dgm:pt>
    <dgm:pt modelId="{582F2F1F-BED1-4926-8C8D-F96FC440BB0C}" type="sibTrans" cxnId="{6A829B45-0459-4D1A-8D61-8245B6ACE9B7}">
      <dgm:prSet/>
      <dgm:spPr/>
      <dgm:t>
        <a:bodyPr/>
        <a:lstStyle/>
        <a:p>
          <a:endParaRPr lang="en-IN" sz="1200"/>
        </a:p>
      </dgm:t>
    </dgm:pt>
    <dgm:pt modelId="{DD2F72B6-5BE4-475A-B151-97385908D9E2}">
      <dgm:prSet custT="1"/>
      <dgm:spPr>
        <a:solidFill>
          <a:srgbClr val="F6CDD3"/>
        </a:solidFill>
        <a:ln>
          <a:solidFill>
            <a:srgbClr val="9D1E27">
              <a:alpha val="90000"/>
            </a:srgbClr>
          </a:solidFill>
        </a:ln>
      </dgm:spPr>
      <dgm:t>
        <a:bodyPr/>
        <a:lstStyle/>
        <a:p>
          <a:pPr>
            <a:buNone/>
          </a:pPr>
          <a:r>
            <a:rPr lang="en-US" sz="1200"/>
            <a:t>Quantization/distillation, batching, caching, streaming ASR; </a:t>
          </a:r>
          <a:r>
            <a:rPr lang="en-US" sz="1200" err="1"/>
            <a:t>autoscale</a:t>
          </a:r>
          <a:r>
            <a:rPr lang="en-US" sz="1200"/>
            <a:t> within DC.</a:t>
          </a:r>
        </a:p>
      </dgm:t>
    </dgm:pt>
    <dgm:pt modelId="{DE963327-F235-4170-864A-014C44A7122E}" type="parTrans" cxnId="{FB03864C-1956-42EC-8037-7CFED12F4949}">
      <dgm:prSet/>
      <dgm:spPr/>
      <dgm:t>
        <a:bodyPr/>
        <a:lstStyle/>
        <a:p>
          <a:endParaRPr lang="en-IN" sz="1200"/>
        </a:p>
      </dgm:t>
    </dgm:pt>
    <dgm:pt modelId="{05471017-DFD8-4574-9150-E90A601998B0}" type="sibTrans" cxnId="{FB03864C-1956-42EC-8037-7CFED12F4949}">
      <dgm:prSet/>
      <dgm:spPr/>
      <dgm:t>
        <a:bodyPr/>
        <a:lstStyle/>
        <a:p>
          <a:endParaRPr lang="en-IN" sz="1200"/>
        </a:p>
      </dgm:t>
    </dgm:pt>
    <dgm:pt modelId="{8EDF8105-F3D9-465C-BE1B-89CA6A01E5A2}">
      <dgm:prSet custT="1"/>
      <dgm:spPr>
        <a:solidFill>
          <a:srgbClr val="F6CDD3"/>
        </a:solidFill>
        <a:ln>
          <a:solidFill>
            <a:srgbClr val="9D1E27">
              <a:alpha val="90000"/>
            </a:srgbClr>
          </a:solidFill>
        </a:ln>
      </dgm:spPr>
      <dgm:t>
        <a:bodyPr/>
        <a:lstStyle/>
        <a:p>
          <a:pPr>
            <a:buNone/>
          </a:pPr>
          <a:r>
            <a:rPr lang="en-US" sz="1200"/>
            <a:t>Monthly eval + fine-tune, live index refresh, allow/deny lists, human-handoff for high-risk intents.</a:t>
          </a:r>
        </a:p>
      </dgm:t>
    </dgm:pt>
    <dgm:pt modelId="{014EE91E-A6AA-4FEF-B416-C79A4ABFEFEE}" type="parTrans" cxnId="{43E8C2E2-E4D7-4B97-8C9A-1FC7E7E69264}">
      <dgm:prSet/>
      <dgm:spPr/>
      <dgm:t>
        <a:bodyPr/>
        <a:lstStyle/>
        <a:p>
          <a:endParaRPr lang="en-IN" sz="1200"/>
        </a:p>
      </dgm:t>
    </dgm:pt>
    <dgm:pt modelId="{6A332295-841A-4BCC-9A17-95A3943A8354}" type="sibTrans" cxnId="{43E8C2E2-E4D7-4B97-8C9A-1FC7E7E69264}">
      <dgm:prSet/>
      <dgm:spPr/>
      <dgm:t>
        <a:bodyPr/>
        <a:lstStyle/>
        <a:p>
          <a:endParaRPr lang="en-IN" sz="1200"/>
        </a:p>
      </dgm:t>
    </dgm:pt>
    <dgm:pt modelId="{C2F1D24E-89C7-4077-961C-D5D90A8833E3}">
      <dgm:prSet phldrT="[Text]" phldr="0" custT="1"/>
      <dgm:spPr>
        <a:solidFill>
          <a:srgbClr val="F6CDD3"/>
        </a:solidFill>
        <a:ln>
          <a:solidFill>
            <a:srgbClr val="9D1E27">
              <a:alpha val="90000"/>
            </a:srgbClr>
          </a:solidFill>
        </a:ln>
      </dgm:spPr>
      <dgm:t>
        <a:bodyPr/>
        <a:lstStyle/>
        <a:p>
          <a:r>
            <a:rPr lang="en-US" sz="1200"/>
            <a:t>RAG grounding, confidence thresholds, </a:t>
          </a:r>
          <a:r>
            <a:rPr lang="en-US" sz="1200" b="1"/>
            <a:t>supervisor check</a:t>
          </a:r>
          <a:r>
            <a:rPr lang="en-US" sz="1200"/>
            <a:t>; cite sources or decline.</a:t>
          </a:r>
          <a:endParaRPr lang="en-IN" sz="1200"/>
        </a:p>
      </dgm:t>
    </dgm:pt>
    <dgm:pt modelId="{7D8B172D-900D-46A5-AD70-CE98EA95388F}" type="parTrans" cxnId="{6F488DC4-5227-4BFC-B933-01D7F4F64C6F}">
      <dgm:prSet/>
      <dgm:spPr/>
      <dgm:t>
        <a:bodyPr/>
        <a:lstStyle/>
        <a:p>
          <a:endParaRPr lang="en-IN"/>
        </a:p>
      </dgm:t>
    </dgm:pt>
    <dgm:pt modelId="{CDCBAE56-B98B-473C-93EC-0332764C986C}" type="sibTrans" cxnId="{6F488DC4-5227-4BFC-B933-01D7F4F64C6F}">
      <dgm:prSet/>
      <dgm:spPr/>
      <dgm:t>
        <a:bodyPr/>
        <a:lstStyle/>
        <a:p>
          <a:endParaRPr lang="en-IN"/>
        </a:p>
      </dgm:t>
    </dgm:pt>
    <dgm:pt modelId="{7048322F-64DD-4CBF-A407-E98C4D2C85B8}" type="pres">
      <dgm:prSet presAssocID="{95CE080C-A476-4B37-A464-E5CEA065617F}" presName="Name0" presStyleCnt="0">
        <dgm:presLayoutVars>
          <dgm:dir/>
          <dgm:animLvl val="lvl"/>
          <dgm:resizeHandles val="exact"/>
        </dgm:presLayoutVars>
      </dgm:prSet>
      <dgm:spPr/>
    </dgm:pt>
    <dgm:pt modelId="{6DE4ED63-FFFF-4A6D-88DA-2A0E5A6DFC3D}" type="pres">
      <dgm:prSet presAssocID="{B13BB7E2-1423-4A1E-A998-6F00845B6839}" presName="linNode" presStyleCnt="0"/>
      <dgm:spPr/>
    </dgm:pt>
    <dgm:pt modelId="{0E91608E-A539-4900-BF04-A34E08191BDA}" type="pres">
      <dgm:prSet presAssocID="{B13BB7E2-1423-4A1E-A998-6F00845B6839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322AB839-569E-4F53-B43B-B1CE7E2F2219}" type="pres">
      <dgm:prSet presAssocID="{B13BB7E2-1423-4A1E-A998-6F00845B6839}" presName="descendantText" presStyleLbl="alignAccFollowNode1" presStyleIdx="0" presStyleCnt="4">
        <dgm:presLayoutVars>
          <dgm:bulletEnabled val="1"/>
        </dgm:presLayoutVars>
      </dgm:prSet>
      <dgm:spPr/>
    </dgm:pt>
    <dgm:pt modelId="{78B999F3-74F8-4AD1-AA03-1A4D986C9182}" type="pres">
      <dgm:prSet presAssocID="{E93BF458-38F2-48D3-904A-A92EE70F7DDD}" presName="sp" presStyleCnt="0"/>
      <dgm:spPr/>
    </dgm:pt>
    <dgm:pt modelId="{A4B87264-3834-46DD-9212-A1AF53B05A68}" type="pres">
      <dgm:prSet presAssocID="{5B0E6BFA-FEF8-4887-BE1A-E3CEFB709264}" presName="linNode" presStyleCnt="0"/>
      <dgm:spPr/>
    </dgm:pt>
    <dgm:pt modelId="{FD076C11-B63A-4CD9-A800-79BFADEBC96D}" type="pres">
      <dgm:prSet presAssocID="{5B0E6BFA-FEF8-4887-BE1A-E3CEFB709264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D35026FD-E57B-40C1-A9F6-15918D4FC5BB}" type="pres">
      <dgm:prSet presAssocID="{5B0E6BFA-FEF8-4887-BE1A-E3CEFB709264}" presName="descendantText" presStyleLbl="alignAccFollowNode1" presStyleIdx="1" presStyleCnt="4">
        <dgm:presLayoutVars>
          <dgm:bulletEnabled val="1"/>
        </dgm:presLayoutVars>
      </dgm:prSet>
      <dgm:spPr/>
    </dgm:pt>
    <dgm:pt modelId="{C0226F53-4ADB-4965-A646-2E1E268571E0}" type="pres">
      <dgm:prSet presAssocID="{A499D9CE-3FD1-4CD1-BDEE-5F7625E38A5C}" presName="sp" presStyleCnt="0"/>
      <dgm:spPr/>
    </dgm:pt>
    <dgm:pt modelId="{19663FE4-194C-45DF-B98E-FBFD216E1460}" type="pres">
      <dgm:prSet presAssocID="{80FFD376-3B70-490D-A295-B84070C6581C}" presName="linNode" presStyleCnt="0"/>
      <dgm:spPr/>
    </dgm:pt>
    <dgm:pt modelId="{859755EE-08DA-43B3-A4A9-D1B50021E635}" type="pres">
      <dgm:prSet presAssocID="{80FFD376-3B70-490D-A295-B84070C6581C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C63AB7A2-DA86-4544-A35C-1C160E519697}" type="pres">
      <dgm:prSet presAssocID="{80FFD376-3B70-490D-A295-B84070C6581C}" presName="descendantText" presStyleLbl="alignAccFollowNode1" presStyleIdx="2" presStyleCnt="4">
        <dgm:presLayoutVars>
          <dgm:bulletEnabled val="1"/>
        </dgm:presLayoutVars>
      </dgm:prSet>
      <dgm:spPr/>
    </dgm:pt>
    <dgm:pt modelId="{641B6FC2-3328-4C5F-99A6-D7A8A6F7169B}" type="pres">
      <dgm:prSet presAssocID="{9AD37FC8-2D50-487D-8266-89F5D9D0A619}" presName="sp" presStyleCnt="0"/>
      <dgm:spPr/>
    </dgm:pt>
    <dgm:pt modelId="{E08F5B84-6EAE-4642-B2F5-A3C1B7579298}" type="pres">
      <dgm:prSet presAssocID="{5E7577EC-DEE3-4613-970F-B9D2CCB1A101}" presName="linNode" presStyleCnt="0"/>
      <dgm:spPr/>
    </dgm:pt>
    <dgm:pt modelId="{BE08E7CE-2670-41F2-836F-3E5FFB459492}" type="pres">
      <dgm:prSet presAssocID="{5E7577EC-DEE3-4613-970F-B9D2CCB1A101}" presName="parentText" presStyleLbl="node1" presStyleIdx="3" presStyleCnt="4">
        <dgm:presLayoutVars>
          <dgm:chMax val="1"/>
          <dgm:bulletEnabled val="1"/>
        </dgm:presLayoutVars>
      </dgm:prSet>
      <dgm:spPr/>
    </dgm:pt>
    <dgm:pt modelId="{2ADAE74D-84B9-4B14-9138-590B8F1B7E74}" type="pres">
      <dgm:prSet presAssocID="{5E7577EC-DEE3-4613-970F-B9D2CCB1A101}" presName="descendantText" presStyleLbl="alignAccFollowNode1" presStyleIdx="3" presStyleCnt="4">
        <dgm:presLayoutVars>
          <dgm:bulletEnabled val="1"/>
        </dgm:presLayoutVars>
      </dgm:prSet>
      <dgm:spPr/>
    </dgm:pt>
  </dgm:ptLst>
  <dgm:cxnLst>
    <dgm:cxn modelId="{9ACDD904-509E-4F7A-82B4-BE1BFB8A6946}" type="presOf" srcId="{95CE080C-A476-4B37-A464-E5CEA065617F}" destId="{7048322F-64DD-4CBF-A407-E98C4D2C85B8}" srcOrd="0" destOrd="0" presId="urn:microsoft.com/office/officeart/2005/8/layout/vList5"/>
    <dgm:cxn modelId="{752A0717-8117-4CC7-A9D2-F3F39C1DA572}" type="presOf" srcId="{8EDF8105-F3D9-465C-BE1B-89CA6A01E5A2}" destId="{2ADAE74D-84B9-4B14-9138-590B8F1B7E74}" srcOrd="0" destOrd="0" presId="urn:microsoft.com/office/officeart/2005/8/layout/vList5"/>
    <dgm:cxn modelId="{630CF61B-79DD-4DFA-AD06-4BFF9D99023B}" type="presOf" srcId="{80FFD376-3B70-490D-A295-B84070C6581C}" destId="{859755EE-08DA-43B3-A4A9-D1B50021E635}" srcOrd="0" destOrd="0" presId="urn:microsoft.com/office/officeart/2005/8/layout/vList5"/>
    <dgm:cxn modelId="{3E58D32C-42F8-4E36-B04D-80D0DA9D7467}" type="presOf" srcId="{5B0E6BFA-FEF8-4887-BE1A-E3CEFB709264}" destId="{FD076C11-B63A-4CD9-A800-79BFADEBC96D}" srcOrd="0" destOrd="0" presId="urn:microsoft.com/office/officeart/2005/8/layout/vList5"/>
    <dgm:cxn modelId="{2448AA63-7D02-4CF4-91F7-984682DAC597}" srcId="{95CE080C-A476-4B37-A464-E5CEA065617F}" destId="{5E7577EC-DEE3-4613-970F-B9D2CCB1A101}" srcOrd="3" destOrd="0" parTransId="{BE20F095-5D98-4201-A68A-39F520B11407}" sibTransId="{5EC63D03-B818-45FA-8722-32F3ED60E684}"/>
    <dgm:cxn modelId="{6A829B45-0459-4D1A-8D61-8245B6ACE9B7}" srcId="{5B0E6BFA-FEF8-4887-BE1A-E3CEFB709264}" destId="{FECAFD00-3C33-48CA-8A52-CB48BB99CFCA}" srcOrd="0" destOrd="0" parTransId="{DE9F666D-E480-4C10-A611-27D8E6126F91}" sibTransId="{582F2F1F-BED1-4926-8C8D-F96FC440BB0C}"/>
    <dgm:cxn modelId="{4796C469-63CC-485B-A8A1-A3E0B7A3344A}" srcId="{95CE080C-A476-4B37-A464-E5CEA065617F}" destId="{5B0E6BFA-FEF8-4887-BE1A-E3CEFB709264}" srcOrd="1" destOrd="0" parTransId="{B8DB320C-A670-48A0-92F3-7DF1BB36C0BB}" sibTransId="{A499D9CE-3FD1-4CD1-BDEE-5F7625E38A5C}"/>
    <dgm:cxn modelId="{FB03864C-1956-42EC-8037-7CFED12F4949}" srcId="{80FFD376-3B70-490D-A295-B84070C6581C}" destId="{DD2F72B6-5BE4-475A-B151-97385908D9E2}" srcOrd="0" destOrd="0" parTransId="{DE963327-F235-4170-864A-014C44A7122E}" sibTransId="{05471017-DFD8-4574-9150-E90A601998B0}"/>
    <dgm:cxn modelId="{F8585A75-969E-40E4-967B-B38B870BBC08}" srcId="{95CE080C-A476-4B37-A464-E5CEA065617F}" destId="{B13BB7E2-1423-4A1E-A998-6F00845B6839}" srcOrd="0" destOrd="0" parTransId="{CD73D0BD-B768-49BD-8896-09A445F5F16D}" sibTransId="{E93BF458-38F2-48D3-904A-A92EE70F7DDD}"/>
    <dgm:cxn modelId="{B987F0AF-C953-459A-8A7A-88D4E1A9D7ED}" type="presOf" srcId="{C2F1D24E-89C7-4077-961C-D5D90A8833E3}" destId="{322AB839-569E-4F53-B43B-B1CE7E2F2219}" srcOrd="0" destOrd="0" presId="urn:microsoft.com/office/officeart/2005/8/layout/vList5"/>
    <dgm:cxn modelId="{19D199BE-34D3-4AC6-B5E2-CE9CC0B5A0EA}" type="presOf" srcId="{FECAFD00-3C33-48CA-8A52-CB48BB99CFCA}" destId="{D35026FD-E57B-40C1-A9F6-15918D4FC5BB}" srcOrd="0" destOrd="0" presId="urn:microsoft.com/office/officeart/2005/8/layout/vList5"/>
    <dgm:cxn modelId="{2EBE8CC2-F333-439C-942F-A7417A87129C}" type="presOf" srcId="{5E7577EC-DEE3-4613-970F-B9D2CCB1A101}" destId="{BE08E7CE-2670-41F2-836F-3E5FFB459492}" srcOrd="0" destOrd="0" presId="urn:microsoft.com/office/officeart/2005/8/layout/vList5"/>
    <dgm:cxn modelId="{6F488DC4-5227-4BFC-B933-01D7F4F64C6F}" srcId="{B13BB7E2-1423-4A1E-A998-6F00845B6839}" destId="{C2F1D24E-89C7-4077-961C-D5D90A8833E3}" srcOrd="0" destOrd="0" parTransId="{7D8B172D-900D-46A5-AD70-CE98EA95388F}" sibTransId="{CDCBAE56-B98B-473C-93EC-0332764C986C}"/>
    <dgm:cxn modelId="{16689ECC-F49F-4E42-8413-3FE395DADB4A}" type="presOf" srcId="{DD2F72B6-5BE4-475A-B151-97385908D9E2}" destId="{C63AB7A2-DA86-4544-A35C-1C160E519697}" srcOrd="0" destOrd="0" presId="urn:microsoft.com/office/officeart/2005/8/layout/vList5"/>
    <dgm:cxn modelId="{956F0DD5-BFDA-47C4-968A-BBD3213E3144}" type="presOf" srcId="{B13BB7E2-1423-4A1E-A998-6F00845B6839}" destId="{0E91608E-A539-4900-BF04-A34E08191BDA}" srcOrd="0" destOrd="0" presId="urn:microsoft.com/office/officeart/2005/8/layout/vList5"/>
    <dgm:cxn modelId="{DA07E6DA-434D-4331-8804-B6F5916ED381}" srcId="{95CE080C-A476-4B37-A464-E5CEA065617F}" destId="{80FFD376-3B70-490D-A295-B84070C6581C}" srcOrd="2" destOrd="0" parTransId="{06889F74-1616-4E28-BECC-81D23A187C99}" sibTransId="{9AD37FC8-2D50-487D-8266-89F5D9D0A619}"/>
    <dgm:cxn modelId="{43E8C2E2-E4D7-4B97-8C9A-1FC7E7E69264}" srcId="{5E7577EC-DEE3-4613-970F-B9D2CCB1A101}" destId="{8EDF8105-F3D9-465C-BE1B-89CA6A01E5A2}" srcOrd="0" destOrd="0" parTransId="{014EE91E-A6AA-4FEF-B416-C79A4ABFEFEE}" sibTransId="{6A332295-841A-4BCC-9A17-95A3943A8354}"/>
    <dgm:cxn modelId="{14625E7E-DC60-4CE5-9406-56C33F696C68}" type="presParOf" srcId="{7048322F-64DD-4CBF-A407-E98C4D2C85B8}" destId="{6DE4ED63-FFFF-4A6D-88DA-2A0E5A6DFC3D}" srcOrd="0" destOrd="0" presId="urn:microsoft.com/office/officeart/2005/8/layout/vList5"/>
    <dgm:cxn modelId="{D1043C1A-C017-47CE-B070-8A49184B4E83}" type="presParOf" srcId="{6DE4ED63-FFFF-4A6D-88DA-2A0E5A6DFC3D}" destId="{0E91608E-A539-4900-BF04-A34E08191BDA}" srcOrd="0" destOrd="0" presId="urn:microsoft.com/office/officeart/2005/8/layout/vList5"/>
    <dgm:cxn modelId="{839B60E2-1AB2-44CF-B330-9DF89CC6443D}" type="presParOf" srcId="{6DE4ED63-FFFF-4A6D-88DA-2A0E5A6DFC3D}" destId="{322AB839-569E-4F53-B43B-B1CE7E2F2219}" srcOrd="1" destOrd="0" presId="urn:microsoft.com/office/officeart/2005/8/layout/vList5"/>
    <dgm:cxn modelId="{84947116-1AEB-4DDB-8894-133EE301F152}" type="presParOf" srcId="{7048322F-64DD-4CBF-A407-E98C4D2C85B8}" destId="{78B999F3-74F8-4AD1-AA03-1A4D986C9182}" srcOrd="1" destOrd="0" presId="urn:microsoft.com/office/officeart/2005/8/layout/vList5"/>
    <dgm:cxn modelId="{E966677E-FE63-4D20-B5C0-FC0EB92398FA}" type="presParOf" srcId="{7048322F-64DD-4CBF-A407-E98C4D2C85B8}" destId="{A4B87264-3834-46DD-9212-A1AF53B05A68}" srcOrd="2" destOrd="0" presId="urn:microsoft.com/office/officeart/2005/8/layout/vList5"/>
    <dgm:cxn modelId="{92484C95-A1DC-4571-AB97-CD3FDE6D9428}" type="presParOf" srcId="{A4B87264-3834-46DD-9212-A1AF53B05A68}" destId="{FD076C11-B63A-4CD9-A800-79BFADEBC96D}" srcOrd="0" destOrd="0" presId="urn:microsoft.com/office/officeart/2005/8/layout/vList5"/>
    <dgm:cxn modelId="{F74F4EC5-08A6-4E08-92B3-F973CFE8ED69}" type="presParOf" srcId="{A4B87264-3834-46DD-9212-A1AF53B05A68}" destId="{D35026FD-E57B-40C1-A9F6-15918D4FC5BB}" srcOrd="1" destOrd="0" presId="urn:microsoft.com/office/officeart/2005/8/layout/vList5"/>
    <dgm:cxn modelId="{60781674-490F-4DA8-B49C-C85A4D1892B3}" type="presParOf" srcId="{7048322F-64DD-4CBF-A407-E98C4D2C85B8}" destId="{C0226F53-4ADB-4965-A646-2E1E268571E0}" srcOrd="3" destOrd="0" presId="urn:microsoft.com/office/officeart/2005/8/layout/vList5"/>
    <dgm:cxn modelId="{4866FC12-8BED-4151-B4F8-D0AD7473B600}" type="presParOf" srcId="{7048322F-64DD-4CBF-A407-E98C4D2C85B8}" destId="{19663FE4-194C-45DF-B98E-FBFD216E1460}" srcOrd="4" destOrd="0" presId="urn:microsoft.com/office/officeart/2005/8/layout/vList5"/>
    <dgm:cxn modelId="{CC0E8E54-C756-4EB6-964E-215C07B96E73}" type="presParOf" srcId="{19663FE4-194C-45DF-B98E-FBFD216E1460}" destId="{859755EE-08DA-43B3-A4A9-D1B50021E635}" srcOrd="0" destOrd="0" presId="urn:microsoft.com/office/officeart/2005/8/layout/vList5"/>
    <dgm:cxn modelId="{CFD76CE6-FF59-49F6-B7C9-3289DF20C4E8}" type="presParOf" srcId="{19663FE4-194C-45DF-B98E-FBFD216E1460}" destId="{C63AB7A2-DA86-4544-A35C-1C160E519697}" srcOrd="1" destOrd="0" presId="urn:microsoft.com/office/officeart/2005/8/layout/vList5"/>
    <dgm:cxn modelId="{2D430778-8B5F-42D7-937E-D8B1399D9B75}" type="presParOf" srcId="{7048322F-64DD-4CBF-A407-E98C4D2C85B8}" destId="{641B6FC2-3328-4C5F-99A6-D7A8A6F7169B}" srcOrd="5" destOrd="0" presId="urn:microsoft.com/office/officeart/2005/8/layout/vList5"/>
    <dgm:cxn modelId="{CD357C95-BEBB-40D9-9A30-07128D826305}" type="presParOf" srcId="{7048322F-64DD-4CBF-A407-E98C4D2C85B8}" destId="{E08F5B84-6EAE-4642-B2F5-A3C1B7579298}" srcOrd="6" destOrd="0" presId="urn:microsoft.com/office/officeart/2005/8/layout/vList5"/>
    <dgm:cxn modelId="{8F4EDCFB-014E-4676-ACA9-BEF5C2412F15}" type="presParOf" srcId="{E08F5B84-6EAE-4642-B2F5-A3C1B7579298}" destId="{BE08E7CE-2670-41F2-836F-3E5FFB459492}" srcOrd="0" destOrd="0" presId="urn:microsoft.com/office/officeart/2005/8/layout/vList5"/>
    <dgm:cxn modelId="{CFC1A04F-314C-44D1-9013-7DB62EF7133F}" type="presParOf" srcId="{E08F5B84-6EAE-4642-B2F5-A3C1B7579298}" destId="{2ADAE74D-84B9-4B14-9138-590B8F1B7E7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6383047-9D72-4164-8F35-4B6C7B421F18}" type="doc">
      <dgm:prSet loTypeId="urn:microsoft.com/office/officeart/2005/8/layout/hProcess7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2DD28BB5-B5B9-4F56-A362-C7013F5492D3}">
      <dgm:prSet phldrT="[Text]" custT="1"/>
      <dgm:spPr>
        <a:noFill/>
        <a:ln>
          <a:solidFill>
            <a:srgbClr val="9D1E27"/>
          </a:solidFill>
        </a:ln>
      </dgm:spPr>
      <dgm:t>
        <a:bodyPr/>
        <a:lstStyle/>
        <a:p>
          <a:pPr>
            <a:buNone/>
          </a:pPr>
          <a:r>
            <a:rPr lang="en-US" sz="1200" b="1">
              <a:solidFill>
                <a:srgbClr val="9D1E27"/>
              </a:solidFill>
            </a:rPr>
            <a:t>Phase 0 (8–10 </a:t>
          </a:r>
          <a:r>
            <a:rPr lang="en-US" sz="1200" b="1" err="1">
              <a:solidFill>
                <a:srgbClr val="9D1E27"/>
              </a:solidFill>
            </a:rPr>
            <a:t>wks</a:t>
          </a:r>
          <a:r>
            <a:rPr lang="en-US" sz="1200" b="1">
              <a:solidFill>
                <a:srgbClr val="9D1E27"/>
              </a:solidFill>
            </a:rPr>
            <a:t>)</a:t>
          </a:r>
          <a:endParaRPr lang="en-IN" sz="1200">
            <a:solidFill>
              <a:srgbClr val="9D1E27"/>
            </a:solidFill>
          </a:endParaRPr>
        </a:p>
      </dgm:t>
    </dgm:pt>
    <dgm:pt modelId="{438A25E7-F556-4D62-9A7C-42DBE61A5242}" type="parTrans" cxnId="{E2D4C1C8-2DB1-4348-92FD-9B977191282B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8477DA20-F9D1-419F-8645-FB4F0CA990F3}" type="sibTrans" cxnId="{E2D4C1C8-2DB1-4348-92FD-9B977191282B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8561CCA5-11F0-448E-B8A4-A88A4F9CAC9E}">
      <dgm:prSet custT="1"/>
      <dgm:spPr>
        <a:noFill/>
        <a:ln>
          <a:solidFill>
            <a:srgbClr val="9D1E27"/>
          </a:solidFill>
        </a:ln>
      </dgm:spPr>
      <dgm:t>
        <a:bodyPr/>
        <a:lstStyle/>
        <a:p>
          <a:pPr>
            <a:buNone/>
          </a:pPr>
          <a:r>
            <a:rPr lang="en-US" sz="1200" b="1">
              <a:solidFill>
                <a:srgbClr val="9D1E27"/>
              </a:solidFill>
            </a:rPr>
            <a:t>Phase 1 (3–6 </a:t>
          </a:r>
          <a:r>
            <a:rPr lang="en-US" sz="1200" b="1" err="1">
              <a:solidFill>
                <a:srgbClr val="9D1E27"/>
              </a:solidFill>
            </a:rPr>
            <a:t>mo</a:t>
          </a:r>
          <a:r>
            <a:rPr lang="en-US" sz="1200" b="1">
              <a:solidFill>
                <a:srgbClr val="9D1E27"/>
              </a:solidFill>
            </a:rPr>
            <a:t>)</a:t>
          </a:r>
          <a:endParaRPr lang="en-US" sz="1200">
            <a:solidFill>
              <a:srgbClr val="9D1E27"/>
            </a:solidFill>
          </a:endParaRPr>
        </a:p>
      </dgm:t>
    </dgm:pt>
    <dgm:pt modelId="{71F1F7F6-F90F-4CB2-BA09-D4D7CA9B2CF1}" type="parTrans" cxnId="{573A5B25-4D80-4C2A-9286-95C64E8D10EF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AE8B4BC2-A389-47B9-B93D-6201A4E98295}" type="sibTrans" cxnId="{573A5B25-4D80-4C2A-9286-95C64E8D10EF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C54684C6-2359-44B0-A8DE-587AD9D28C4F}">
      <dgm:prSet custT="1"/>
      <dgm:spPr>
        <a:noFill/>
        <a:ln>
          <a:solidFill>
            <a:srgbClr val="9D1E27"/>
          </a:solidFill>
        </a:ln>
      </dgm:spPr>
      <dgm:t>
        <a:bodyPr/>
        <a:lstStyle/>
        <a:p>
          <a:pPr>
            <a:buNone/>
          </a:pPr>
          <a:r>
            <a:rPr lang="en-US" sz="1200" b="1">
              <a:solidFill>
                <a:srgbClr val="9D1E27"/>
              </a:solidFill>
            </a:rPr>
            <a:t>Phase 2 (6–12 </a:t>
          </a:r>
          <a:r>
            <a:rPr lang="en-US" sz="1200" b="1" err="1">
              <a:solidFill>
                <a:srgbClr val="9D1E27"/>
              </a:solidFill>
            </a:rPr>
            <a:t>mo</a:t>
          </a:r>
          <a:r>
            <a:rPr lang="en-US" sz="1200" b="1">
              <a:solidFill>
                <a:srgbClr val="9D1E27"/>
              </a:solidFill>
            </a:rPr>
            <a:t>)</a:t>
          </a:r>
          <a:endParaRPr lang="en-US" sz="1200">
            <a:solidFill>
              <a:srgbClr val="9D1E27"/>
            </a:solidFill>
          </a:endParaRPr>
        </a:p>
      </dgm:t>
    </dgm:pt>
    <dgm:pt modelId="{833D1C6B-A150-4BB3-B783-0EE8D056C443}" type="parTrans" cxnId="{533414FD-7DA6-4DDC-AD6D-269F4DCDFC0F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FC664238-3CEE-4984-9B8C-41BF426DD54A}" type="sibTrans" cxnId="{533414FD-7DA6-4DDC-AD6D-269F4DCDFC0F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4B7866B2-242E-46C9-A62A-8CA018D4A02C}">
      <dgm:prSet custT="1"/>
      <dgm:spPr>
        <a:noFill/>
        <a:ln>
          <a:solidFill>
            <a:srgbClr val="9D1E27"/>
          </a:solidFill>
        </a:ln>
      </dgm:spPr>
      <dgm:t>
        <a:bodyPr/>
        <a:lstStyle/>
        <a:p>
          <a:pPr>
            <a:buNone/>
          </a:pPr>
          <a:r>
            <a:rPr lang="en-US" sz="1100" b="1">
              <a:solidFill>
                <a:srgbClr val="9D1E27"/>
              </a:solidFill>
            </a:rPr>
            <a:t>Business KPIs</a:t>
          </a:r>
          <a:endParaRPr lang="en-US" sz="1100">
            <a:solidFill>
              <a:srgbClr val="9D1E27"/>
            </a:solidFill>
          </a:endParaRPr>
        </a:p>
      </dgm:t>
    </dgm:pt>
    <dgm:pt modelId="{33363E65-3C19-4249-9B90-7AC8AB11219A}" type="parTrans" cxnId="{9C7DBA3E-9E33-49B4-8ECF-8AA2FB3DD014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A02B0AF9-CA2C-41A6-AD4F-EA4DBF39D2D6}" type="sibTrans" cxnId="{9C7DBA3E-9E33-49B4-8ECF-8AA2FB3DD014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CAF12BFB-3266-43CD-A607-E15CDCFAA3FE}">
      <dgm:prSet phldrT="[Text]" custT="1"/>
      <dgm:spPr/>
      <dgm:t>
        <a:bodyPr/>
        <a:lstStyle/>
        <a:p>
          <a:pPr>
            <a:buNone/>
          </a:pPr>
          <a:r>
            <a:rPr lang="en-US" sz="1100">
              <a:solidFill>
                <a:schemeClr val="tx1"/>
              </a:solidFill>
            </a:rPr>
            <a:t>Data pipes, RBAC, POC on </a:t>
          </a:r>
          <a:r>
            <a:rPr lang="en-US" sz="1100" b="1">
              <a:solidFill>
                <a:schemeClr val="tx1"/>
              </a:solidFill>
            </a:rPr>
            <a:t>transactions + cards</a:t>
          </a:r>
          <a:endParaRPr lang="en-IN" sz="1100">
            <a:solidFill>
              <a:schemeClr val="tx1"/>
            </a:solidFill>
          </a:endParaRPr>
        </a:p>
      </dgm:t>
    </dgm:pt>
    <dgm:pt modelId="{D8881E7E-964D-4D80-AA1E-8F06B2F68496}" type="parTrans" cxnId="{BCFFC246-3E0C-43A4-9100-05FDA0E6FEC9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7261B415-809B-4FF2-A45E-29C4D3095D01}" type="sibTrans" cxnId="{BCFFC246-3E0C-43A4-9100-05FDA0E6FEC9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A7288683-C75F-47BA-937A-FD07041F5B09}">
      <dgm:prSet phldrT="[Text]" custT="1"/>
      <dgm:spPr/>
      <dgm:t>
        <a:bodyPr/>
        <a:lstStyle/>
        <a:p>
          <a:pPr>
            <a:buNone/>
          </a:pPr>
          <a:r>
            <a:rPr lang="en-US" sz="1100">
              <a:solidFill>
                <a:schemeClr val="tx1"/>
              </a:solidFill>
            </a:rPr>
            <a:t> Hindi/English voice.</a:t>
          </a:r>
          <a:endParaRPr lang="en-IN" sz="1100">
            <a:solidFill>
              <a:schemeClr val="tx1"/>
            </a:solidFill>
          </a:endParaRPr>
        </a:p>
      </dgm:t>
    </dgm:pt>
    <dgm:pt modelId="{BEC3419C-B627-4444-BA9A-5FF4A78AB616}" type="parTrans" cxnId="{AF70DA13-5D08-4E8A-B6F9-B75FAE3E68B9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56DD5CE4-DBA4-40B7-AB7A-950A52BF5ED4}" type="sibTrans" cxnId="{AF70DA13-5D08-4E8A-B6F9-B75FAE3E68B9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2426DD4A-52A6-4E1B-8A38-179E03FFFA1C}">
      <dgm:prSet custT="1"/>
      <dgm:spPr/>
      <dgm:t>
        <a:bodyPr/>
        <a:lstStyle/>
        <a:p>
          <a:pPr>
            <a:buNone/>
          </a:pPr>
          <a:r>
            <a:rPr lang="en-US" sz="1100">
              <a:solidFill>
                <a:schemeClr val="tx1"/>
              </a:solidFill>
            </a:rPr>
            <a:t>Pilot to 1–5% users</a:t>
          </a:r>
        </a:p>
      </dgm:t>
    </dgm:pt>
    <dgm:pt modelId="{B0EE5126-A6A1-4ECB-B41F-8A8A0287DD57}" type="parTrans" cxnId="{EFC2253D-59CD-421F-8606-8A9D7221E71F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1833380B-EBB7-4076-B0F4-CF7FD02DBAE7}" type="sibTrans" cxnId="{EFC2253D-59CD-421F-8606-8A9D7221E71F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97DFF4FE-DCA5-4201-A33E-CD33E24EAA02}">
      <dgm:prSet custT="1"/>
      <dgm:spPr/>
      <dgm:t>
        <a:bodyPr/>
        <a:lstStyle/>
        <a:p>
          <a:pPr>
            <a:buNone/>
          </a:pPr>
          <a:endParaRPr lang="en-US" sz="1100">
            <a:solidFill>
              <a:schemeClr val="tx1"/>
            </a:solidFill>
          </a:endParaRPr>
        </a:p>
      </dgm:t>
    </dgm:pt>
    <dgm:pt modelId="{3B493DBB-51BB-45BB-B1B7-89C1EC05E972}" type="parTrans" cxnId="{00C73910-DE7F-41EA-B331-826615BE0953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1F916425-046F-462F-AB1B-CD8578BA5AB4}" type="sibTrans" cxnId="{00C73910-DE7F-41EA-B331-826615BE0953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71107E35-F8ED-4D55-A999-8A4BC970509A}">
      <dgm:prSet custT="1"/>
      <dgm:spPr/>
      <dgm:t>
        <a:bodyPr/>
        <a:lstStyle/>
        <a:p>
          <a:pPr>
            <a:buNone/>
          </a:pPr>
          <a:r>
            <a:rPr lang="en-US" sz="1100">
              <a:solidFill>
                <a:schemeClr val="tx1"/>
              </a:solidFill>
            </a:rPr>
            <a:t>All domains (loans/wealth/beneficiaries), multi-AZ HA</a:t>
          </a:r>
        </a:p>
      </dgm:t>
    </dgm:pt>
    <dgm:pt modelId="{17BD8EB9-CF23-4AD9-BD95-2E2FCF9B839E}" type="parTrans" cxnId="{D0BACEC3-5C86-4B7D-BB51-09942955DF75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8850747B-966C-4EBC-B307-FFD56C36EFEC}" type="sibTrans" cxnId="{D0BACEC3-5C86-4B7D-BB51-09942955DF75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0650CC5F-FCF9-449F-918B-E046BA6C1DC4}">
      <dgm:prSet custT="1"/>
      <dgm:spPr/>
      <dgm:t>
        <a:bodyPr/>
        <a:lstStyle/>
        <a:p>
          <a:pPr>
            <a:buNone/>
          </a:pPr>
          <a:endParaRPr lang="en-US" sz="1100">
            <a:solidFill>
              <a:schemeClr val="tx1"/>
            </a:solidFill>
          </a:endParaRPr>
        </a:p>
      </dgm:t>
    </dgm:pt>
    <dgm:pt modelId="{17848F1B-AFBB-45F5-A47C-BE357419CA37}" type="parTrans" cxnId="{159D4053-17C8-4789-8F2C-1B4009E7D798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B6C55499-9371-4E18-BC38-50D6DE8D6476}" type="sibTrans" cxnId="{159D4053-17C8-4789-8F2C-1B4009E7D798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B2E30205-5CCC-4B60-93C6-8C0F690EBA40}">
      <dgm:prSet custT="1"/>
      <dgm:spPr/>
      <dgm:t>
        <a:bodyPr/>
        <a:lstStyle/>
        <a:p>
          <a:pPr>
            <a:buNone/>
          </a:pPr>
          <a:r>
            <a:rPr lang="en-US" sz="1100">
              <a:solidFill>
                <a:schemeClr val="tx1"/>
              </a:solidFill>
            </a:rPr>
            <a:t>Call deflection </a:t>
          </a:r>
          <a:r>
            <a:rPr lang="en-US" sz="1100" b="1">
              <a:solidFill>
                <a:schemeClr val="tx1"/>
              </a:solidFill>
            </a:rPr>
            <a:t>10–20%</a:t>
          </a:r>
          <a:r>
            <a:rPr lang="en-US" sz="1100">
              <a:solidFill>
                <a:schemeClr val="tx1"/>
              </a:solidFill>
            </a:rPr>
            <a:t>, task completion ↑</a:t>
          </a:r>
        </a:p>
      </dgm:t>
    </dgm:pt>
    <dgm:pt modelId="{7E19BA08-DA3F-4C5E-8C5B-418C9A996DFE}" type="parTrans" cxnId="{B101D2BE-D6E0-42BA-B36A-277F0CFE4FF2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CA31A7AD-66AF-482E-B893-7CE871D9A7F6}" type="sibTrans" cxnId="{B101D2BE-D6E0-42BA-B36A-277F0CFE4FF2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CEC531DC-8548-40E5-96B6-2DAC5FFD6286}">
      <dgm:prSet custT="1"/>
      <dgm:spPr/>
      <dgm:t>
        <a:bodyPr/>
        <a:lstStyle/>
        <a:p>
          <a:pPr>
            <a:buNone/>
          </a:pPr>
          <a:r>
            <a:rPr lang="en-US" sz="1100">
              <a:solidFill>
                <a:schemeClr val="tx1"/>
              </a:solidFill>
            </a:rPr>
            <a:t> </a:t>
          </a:r>
        </a:p>
      </dgm:t>
    </dgm:pt>
    <dgm:pt modelId="{748924A6-043B-40AC-AF33-CD2D98C4FFC4}" type="parTrans" cxnId="{DBBF7640-21F1-4AFE-A484-1B744E8F28C2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5447D48C-CF31-42EA-9B20-E5D9A3E3F5B3}" type="sibTrans" cxnId="{DBBF7640-21F1-4AFE-A484-1B744E8F28C2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9C335F20-C01E-4FCB-8C9B-BE2E75C2DC02}">
      <dgm:prSet phldrT="[Text]" custT="1"/>
      <dgm:spPr/>
      <dgm:t>
        <a:bodyPr/>
        <a:lstStyle/>
        <a:p>
          <a:pPr>
            <a:buNone/>
          </a:pPr>
          <a:endParaRPr lang="en-IN" sz="1100">
            <a:solidFill>
              <a:schemeClr val="tx1"/>
            </a:solidFill>
          </a:endParaRPr>
        </a:p>
      </dgm:t>
    </dgm:pt>
    <dgm:pt modelId="{9E89BE89-6B4D-43EC-95F8-EEE637ECDC50}" type="parTrans" cxnId="{2EDCF61F-EFA9-4CF2-8FE4-84B71EB25E6F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B2F22FF2-970C-4301-BA0E-E228B4CC0157}" type="sibTrans" cxnId="{2EDCF61F-EFA9-4CF2-8FE4-84B71EB25E6F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E8F626AC-3C4C-4790-A28F-064113626555}">
      <dgm:prSet custT="1"/>
      <dgm:spPr/>
      <dgm:t>
        <a:bodyPr/>
        <a:lstStyle/>
        <a:p>
          <a:pPr>
            <a:buNone/>
          </a:pPr>
          <a:r>
            <a:rPr lang="en-US" sz="1100">
              <a:solidFill>
                <a:schemeClr val="tx1"/>
              </a:solidFill>
            </a:rPr>
            <a:t>Hit </a:t>
          </a:r>
          <a:r>
            <a:rPr lang="en-US" sz="1100" b="1">
              <a:solidFill>
                <a:schemeClr val="tx1"/>
              </a:solidFill>
            </a:rPr>
            <a:t>P50 ≤2s</a:t>
          </a:r>
          <a:r>
            <a:rPr lang="en-US" sz="1100">
              <a:solidFill>
                <a:schemeClr val="tx1"/>
              </a:solidFill>
            </a:rPr>
            <a:t> and </a:t>
          </a:r>
          <a:r>
            <a:rPr lang="en-US" sz="1100" b="1">
              <a:solidFill>
                <a:schemeClr val="tx1"/>
              </a:solidFill>
            </a:rPr>
            <a:t>≥95% grounded answers</a:t>
          </a:r>
          <a:r>
            <a:rPr lang="en-US" sz="1100">
              <a:solidFill>
                <a:schemeClr val="tx1"/>
              </a:solidFill>
            </a:rPr>
            <a:t>.</a:t>
          </a:r>
        </a:p>
      </dgm:t>
    </dgm:pt>
    <dgm:pt modelId="{ACB11B5B-DD79-4BD5-92BD-3366E7C83948}" type="parTrans" cxnId="{9AA15DF0-E3B4-49B8-B679-35A6B600D9F9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0EF5EB0E-8079-4448-ACD8-634FCEB33ABE}" type="sibTrans" cxnId="{9AA15DF0-E3B4-49B8-B679-35A6B600D9F9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59DAC266-E436-4BFD-B18E-D8EB680A0575}">
      <dgm:prSet custT="1"/>
      <dgm:spPr/>
      <dgm:t>
        <a:bodyPr/>
        <a:lstStyle/>
        <a:p>
          <a:pPr>
            <a:buNone/>
          </a:pPr>
          <a:r>
            <a:rPr lang="en-US" sz="1100" b="1">
              <a:solidFill>
                <a:schemeClr val="tx1"/>
              </a:solidFill>
            </a:rPr>
            <a:t>1–2k TPS</a:t>
          </a:r>
          <a:r>
            <a:rPr lang="en-US" sz="1100">
              <a:solidFill>
                <a:schemeClr val="tx1"/>
              </a:solidFill>
            </a:rPr>
            <a:t> steady state.</a:t>
          </a:r>
        </a:p>
      </dgm:t>
    </dgm:pt>
    <dgm:pt modelId="{26CE417B-828B-41F8-B06B-9FEB25C99FA2}" type="parTrans" cxnId="{D8495F8D-4ED5-40DB-8234-76D7A9655741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FF9FAA6C-E86D-4253-86AB-457C7DB1A143}" type="sibTrans" cxnId="{D8495F8D-4ED5-40DB-8234-76D7A9655741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9AC1F878-A535-4567-8B5E-243C400D2CF1}">
      <dgm:prSet custT="1"/>
      <dgm:spPr/>
      <dgm:t>
        <a:bodyPr/>
        <a:lstStyle/>
        <a:p>
          <a:pPr>
            <a:buNone/>
          </a:pPr>
          <a:r>
            <a:rPr lang="en-US" sz="1100">
              <a:solidFill>
                <a:schemeClr val="tx1"/>
              </a:solidFill>
            </a:rPr>
            <a:t>CSAT/NPS ↑, rewards redemption/attach-rate ↑.</a:t>
          </a:r>
        </a:p>
      </dgm:t>
    </dgm:pt>
    <dgm:pt modelId="{9E23E289-707F-4AFB-A907-B49BF85DE7D1}" type="parTrans" cxnId="{46160F53-F65F-48A2-85AC-0956BD9A16A8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7915E33F-C5DC-45B8-A735-EBF25DD4B760}" type="sibTrans" cxnId="{46160F53-F65F-48A2-85AC-0956BD9A16A8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514F0C2D-99DB-4524-B3AE-15072C8111FD}" type="pres">
      <dgm:prSet presAssocID="{A6383047-9D72-4164-8F35-4B6C7B421F18}" presName="Name0" presStyleCnt="0">
        <dgm:presLayoutVars>
          <dgm:dir/>
          <dgm:animLvl val="lvl"/>
          <dgm:resizeHandles val="exact"/>
        </dgm:presLayoutVars>
      </dgm:prSet>
      <dgm:spPr/>
    </dgm:pt>
    <dgm:pt modelId="{F694C567-5571-4345-80DA-F751A447715D}" type="pres">
      <dgm:prSet presAssocID="{2DD28BB5-B5B9-4F56-A362-C7013F5492D3}" presName="compositeNode" presStyleCnt="0">
        <dgm:presLayoutVars>
          <dgm:bulletEnabled val="1"/>
        </dgm:presLayoutVars>
      </dgm:prSet>
      <dgm:spPr/>
    </dgm:pt>
    <dgm:pt modelId="{CD291087-2E7F-4F92-9AC7-B8111F35EEF9}" type="pres">
      <dgm:prSet presAssocID="{2DD28BB5-B5B9-4F56-A362-C7013F5492D3}" presName="bgRect" presStyleLbl="node1" presStyleIdx="0" presStyleCnt="4"/>
      <dgm:spPr/>
    </dgm:pt>
    <dgm:pt modelId="{091394A5-5306-46F9-8003-B7B21CB7D21E}" type="pres">
      <dgm:prSet presAssocID="{2DD28BB5-B5B9-4F56-A362-C7013F5492D3}" presName="parentNode" presStyleLbl="node1" presStyleIdx="0" presStyleCnt="4">
        <dgm:presLayoutVars>
          <dgm:chMax val="0"/>
          <dgm:bulletEnabled val="1"/>
        </dgm:presLayoutVars>
      </dgm:prSet>
      <dgm:spPr/>
    </dgm:pt>
    <dgm:pt modelId="{145764AB-0D42-4F49-AACD-48C599BEDFC3}" type="pres">
      <dgm:prSet presAssocID="{2DD28BB5-B5B9-4F56-A362-C7013F5492D3}" presName="childNode" presStyleLbl="node1" presStyleIdx="0" presStyleCnt="4">
        <dgm:presLayoutVars>
          <dgm:bulletEnabled val="1"/>
        </dgm:presLayoutVars>
      </dgm:prSet>
      <dgm:spPr/>
    </dgm:pt>
    <dgm:pt modelId="{8E5211A2-5801-428C-8850-E903C624D646}" type="pres">
      <dgm:prSet presAssocID="{8477DA20-F9D1-419F-8645-FB4F0CA990F3}" presName="hSp" presStyleCnt="0"/>
      <dgm:spPr/>
    </dgm:pt>
    <dgm:pt modelId="{A8B2A1A9-395D-48DB-85FC-68D3E12DE4FC}" type="pres">
      <dgm:prSet presAssocID="{8477DA20-F9D1-419F-8645-FB4F0CA990F3}" presName="vProcSp" presStyleCnt="0"/>
      <dgm:spPr/>
    </dgm:pt>
    <dgm:pt modelId="{5E8EB417-58A8-47CA-86C5-62287ABF7497}" type="pres">
      <dgm:prSet presAssocID="{8477DA20-F9D1-419F-8645-FB4F0CA990F3}" presName="vSp1" presStyleCnt="0"/>
      <dgm:spPr/>
    </dgm:pt>
    <dgm:pt modelId="{C5D64123-6DFB-4667-86D3-2E7B21765CC4}" type="pres">
      <dgm:prSet presAssocID="{8477DA20-F9D1-419F-8645-FB4F0CA990F3}" presName="simulatedConn" presStyleLbl="solidFgAcc1" presStyleIdx="0" presStyleCnt="3"/>
      <dgm:spPr>
        <a:solidFill>
          <a:srgbClr val="9D1E27"/>
        </a:solidFill>
        <a:ln>
          <a:solidFill>
            <a:srgbClr val="9D1E27"/>
          </a:solidFill>
        </a:ln>
      </dgm:spPr>
    </dgm:pt>
    <dgm:pt modelId="{3D4ED328-564C-4B42-804F-2E97FB991A42}" type="pres">
      <dgm:prSet presAssocID="{8477DA20-F9D1-419F-8645-FB4F0CA990F3}" presName="vSp2" presStyleCnt="0"/>
      <dgm:spPr/>
    </dgm:pt>
    <dgm:pt modelId="{35062307-791B-4974-A3F5-A24D719C5C94}" type="pres">
      <dgm:prSet presAssocID="{8477DA20-F9D1-419F-8645-FB4F0CA990F3}" presName="sibTrans" presStyleCnt="0"/>
      <dgm:spPr/>
    </dgm:pt>
    <dgm:pt modelId="{B64EF5D3-522A-4379-B04D-645F40E512E0}" type="pres">
      <dgm:prSet presAssocID="{8561CCA5-11F0-448E-B8A4-A88A4F9CAC9E}" presName="compositeNode" presStyleCnt="0">
        <dgm:presLayoutVars>
          <dgm:bulletEnabled val="1"/>
        </dgm:presLayoutVars>
      </dgm:prSet>
      <dgm:spPr/>
    </dgm:pt>
    <dgm:pt modelId="{645BE98D-904B-49B5-90B3-8DA6363D6232}" type="pres">
      <dgm:prSet presAssocID="{8561CCA5-11F0-448E-B8A4-A88A4F9CAC9E}" presName="bgRect" presStyleLbl="node1" presStyleIdx="1" presStyleCnt="4"/>
      <dgm:spPr/>
    </dgm:pt>
    <dgm:pt modelId="{9E003ABF-A599-4FDE-8206-DB218E003662}" type="pres">
      <dgm:prSet presAssocID="{8561CCA5-11F0-448E-B8A4-A88A4F9CAC9E}" presName="parentNode" presStyleLbl="node1" presStyleIdx="1" presStyleCnt="4">
        <dgm:presLayoutVars>
          <dgm:chMax val="0"/>
          <dgm:bulletEnabled val="1"/>
        </dgm:presLayoutVars>
      </dgm:prSet>
      <dgm:spPr/>
    </dgm:pt>
    <dgm:pt modelId="{63CBD545-5EFC-40E2-A5B9-A1F51B2B7741}" type="pres">
      <dgm:prSet presAssocID="{8561CCA5-11F0-448E-B8A4-A88A4F9CAC9E}" presName="childNode" presStyleLbl="node1" presStyleIdx="1" presStyleCnt="4">
        <dgm:presLayoutVars>
          <dgm:bulletEnabled val="1"/>
        </dgm:presLayoutVars>
      </dgm:prSet>
      <dgm:spPr/>
    </dgm:pt>
    <dgm:pt modelId="{C8169128-B31D-4F50-BA17-C3757D08FA12}" type="pres">
      <dgm:prSet presAssocID="{AE8B4BC2-A389-47B9-B93D-6201A4E98295}" presName="hSp" presStyleCnt="0"/>
      <dgm:spPr/>
    </dgm:pt>
    <dgm:pt modelId="{CC988D40-95BD-4F3A-87E2-5E7AF2060C12}" type="pres">
      <dgm:prSet presAssocID="{AE8B4BC2-A389-47B9-B93D-6201A4E98295}" presName="vProcSp" presStyleCnt="0"/>
      <dgm:spPr/>
    </dgm:pt>
    <dgm:pt modelId="{49D54E61-EA17-439F-A0DD-B34BE9FF4F87}" type="pres">
      <dgm:prSet presAssocID="{AE8B4BC2-A389-47B9-B93D-6201A4E98295}" presName="vSp1" presStyleCnt="0"/>
      <dgm:spPr/>
    </dgm:pt>
    <dgm:pt modelId="{05C4FF49-E7BF-4363-BC25-B9BF7B00484F}" type="pres">
      <dgm:prSet presAssocID="{AE8B4BC2-A389-47B9-B93D-6201A4E98295}" presName="simulatedConn" presStyleLbl="solidFgAcc1" presStyleIdx="1" presStyleCnt="3"/>
      <dgm:spPr>
        <a:solidFill>
          <a:srgbClr val="9D1E27"/>
        </a:solidFill>
        <a:ln>
          <a:solidFill>
            <a:srgbClr val="9D1E27"/>
          </a:solidFill>
        </a:ln>
      </dgm:spPr>
    </dgm:pt>
    <dgm:pt modelId="{211608C3-C45B-4C0C-BFF4-ACD74F04E70A}" type="pres">
      <dgm:prSet presAssocID="{AE8B4BC2-A389-47B9-B93D-6201A4E98295}" presName="vSp2" presStyleCnt="0"/>
      <dgm:spPr/>
    </dgm:pt>
    <dgm:pt modelId="{8B28D286-03D8-43DC-8AA9-AABBA92ACDBD}" type="pres">
      <dgm:prSet presAssocID="{AE8B4BC2-A389-47B9-B93D-6201A4E98295}" presName="sibTrans" presStyleCnt="0"/>
      <dgm:spPr/>
    </dgm:pt>
    <dgm:pt modelId="{CE14F9AE-5750-4FC7-87C6-B3A26D7FBC28}" type="pres">
      <dgm:prSet presAssocID="{C54684C6-2359-44B0-A8DE-587AD9D28C4F}" presName="compositeNode" presStyleCnt="0">
        <dgm:presLayoutVars>
          <dgm:bulletEnabled val="1"/>
        </dgm:presLayoutVars>
      </dgm:prSet>
      <dgm:spPr/>
    </dgm:pt>
    <dgm:pt modelId="{2EF86992-4D44-4FD8-B946-64187CA3ECB7}" type="pres">
      <dgm:prSet presAssocID="{C54684C6-2359-44B0-A8DE-587AD9D28C4F}" presName="bgRect" presStyleLbl="node1" presStyleIdx="2" presStyleCnt="4"/>
      <dgm:spPr/>
    </dgm:pt>
    <dgm:pt modelId="{3458A2A8-B213-43F5-ADF8-4BC62DC79472}" type="pres">
      <dgm:prSet presAssocID="{C54684C6-2359-44B0-A8DE-587AD9D28C4F}" presName="parentNode" presStyleLbl="node1" presStyleIdx="2" presStyleCnt="4">
        <dgm:presLayoutVars>
          <dgm:chMax val="0"/>
          <dgm:bulletEnabled val="1"/>
        </dgm:presLayoutVars>
      </dgm:prSet>
      <dgm:spPr/>
    </dgm:pt>
    <dgm:pt modelId="{279380AD-036E-4396-B9A4-2D7502EBAA77}" type="pres">
      <dgm:prSet presAssocID="{C54684C6-2359-44B0-A8DE-587AD9D28C4F}" presName="childNode" presStyleLbl="node1" presStyleIdx="2" presStyleCnt="4">
        <dgm:presLayoutVars>
          <dgm:bulletEnabled val="1"/>
        </dgm:presLayoutVars>
      </dgm:prSet>
      <dgm:spPr/>
    </dgm:pt>
    <dgm:pt modelId="{43B73540-CD75-423C-AB25-388551205C6F}" type="pres">
      <dgm:prSet presAssocID="{FC664238-3CEE-4984-9B8C-41BF426DD54A}" presName="hSp" presStyleCnt="0"/>
      <dgm:spPr/>
    </dgm:pt>
    <dgm:pt modelId="{9700EE28-CAAF-4249-A670-0EB306BD3EB3}" type="pres">
      <dgm:prSet presAssocID="{FC664238-3CEE-4984-9B8C-41BF426DD54A}" presName="vProcSp" presStyleCnt="0"/>
      <dgm:spPr/>
    </dgm:pt>
    <dgm:pt modelId="{AC924308-2810-44C3-93F5-C6C8C82762BB}" type="pres">
      <dgm:prSet presAssocID="{FC664238-3CEE-4984-9B8C-41BF426DD54A}" presName="vSp1" presStyleCnt="0"/>
      <dgm:spPr/>
    </dgm:pt>
    <dgm:pt modelId="{4C7247B7-AF92-4A53-BE1D-7DCD1ACB8E6C}" type="pres">
      <dgm:prSet presAssocID="{FC664238-3CEE-4984-9B8C-41BF426DD54A}" presName="simulatedConn" presStyleLbl="solidFgAcc1" presStyleIdx="2" presStyleCnt="3"/>
      <dgm:spPr>
        <a:solidFill>
          <a:srgbClr val="9D1E27"/>
        </a:solidFill>
        <a:ln>
          <a:solidFill>
            <a:srgbClr val="9D1E27"/>
          </a:solidFill>
        </a:ln>
      </dgm:spPr>
    </dgm:pt>
    <dgm:pt modelId="{2A253223-4A79-47B9-A913-8DDC345BB572}" type="pres">
      <dgm:prSet presAssocID="{FC664238-3CEE-4984-9B8C-41BF426DD54A}" presName="vSp2" presStyleCnt="0"/>
      <dgm:spPr/>
    </dgm:pt>
    <dgm:pt modelId="{BDE104A0-F38A-44A6-A9DE-5D9C4E83B7D3}" type="pres">
      <dgm:prSet presAssocID="{FC664238-3CEE-4984-9B8C-41BF426DD54A}" presName="sibTrans" presStyleCnt="0"/>
      <dgm:spPr/>
    </dgm:pt>
    <dgm:pt modelId="{FCFA266C-278B-47D3-9ABE-4041BF424427}" type="pres">
      <dgm:prSet presAssocID="{4B7866B2-242E-46C9-A62A-8CA018D4A02C}" presName="compositeNode" presStyleCnt="0">
        <dgm:presLayoutVars>
          <dgm:bulletEnabled val="1"/>
        </dgm:presLayoutVars>
      </dgm:prSet>
      <dgm:spPr/>
    </dgm:pt>
    <dgm:pt modelId="{19A944B9-398F-4CD6-8394-794391771E0A}" type="pres">
      <dgm:prSet presAssocID="{4B7866B2-242E-46C9-A62A-8CA018D4A02C}" presName="bgRect" presStyleLbl="node1" presStyleIdx="3" presStyleCnt="4"/>
      <dgm:spPr/>
    </dgm:pt>
    <dgm:pt modelId="{B18EA44E-1B5E-404B-A36F-BD1E1D8FDDD0}" type="pres">
      <dgm:prSet presAssocID="{4B7866B2-242E-46C9-A62A-8CA018D4A02C}" presName="parentNode" presStyleLbl="node1" presStyleIdx="3" presStyleCnt="4">
        <dgm:presLayoutVars>
          <dgm:chMax val="0"/>
          <dgm:bulletEnabled val="1"/>
        </dgm:presLayoutVars>
      </dgm:prSet>
      <dgm:spPr/>
    </dgm:pt>
    <dgm:pt modelId="{35B5425B-2CCD-4A56-BDDB-D05522A36292}" type="pres">
      <dgm:prSet presAssocID="{4B7866B2-242E-46C9-A62A-8CA018D4A02C}" presName="childNode" presStyleLbl="node1" presStyleIdx="3" presStyleCnt="4">
        <dgm:presLayoutVars>
          <dgm:bulletEnabled val="1"/>
        </dgm:presLayoutVars>
      </dgm:prSet>
      <dgm:spPr/>
    </dgm:pt>
  </dgm:ptLst>
  <dgm:cxnLst>
    <dgm:cxn modelId="{00C73910-DE7F-41EA-B331-826615BE0953}" srcId="{8561CCA5-11F0-448E-B8A4-A88A4F9CAC9E}" destId="{97DFF4FE-DCA5-4201-A33E-CD33E24EAA02}" srcOrd="1" destOrd="0" parTransId="{3B493DBB-51BB-45BB-B1B7-89C1EC05E972}" sibTransId="{1F916425-046F-462F-AB1B-CD8578BA5AB4}"/>
    <dgm:cxn modelId="{AF70DA13-5D08-4E8A-B6F9-B75FAE3E68B9}" srcId="{2DD28BB5-B5B9-4F56-A362-C7013F5492D3}" destId="{A7288683-C75F-47BA-937A-FD07041F5B09}" srcOrd="2" destOrd="0" parTransId="{BEC3419C-B627-4444-BA9A-5FF4A78AB616}" sibTransId="{56DD5CE4-DBA4-40B7-AB7A-950A52BF5ED4}"/>
    <dgm:cxn modelId="{52194F14-2384-491D-B0F8-E1BCBBE31DA3}" type="presOf" srcId="{71107E35-F8ED-4D55-A999-8A4BC970509A}" destId="{279380AD-036E-4396-B9A4-2D7502EBAA77}" srcOrd="0" destOrd="0" presId="urn:microsoft.com/office/officeart/2005/8/layout/hProcess7"/>
    <dgm:cxn modelId="{ADCEA117-8AA5-466E-A4E4-FA086D6E3919}" type="presOf" srcId="{4B7866B2-242E-46C9-A62A-8CA018D4A02C}" destId="{19A944B9-398F-4CD6-8394-794391771E0A}" srcOrd="0" destOrd="0" presId="urn:microsoft.com/office/officeart/2005/8/layout/hProcess7"/>
    <dgm:cxn modelId="{2EDCF61F-EFA9-4CF2-8FE4-84B71EB25E6F}" srcId="{2DD28BB5-B5B9-4F56-A362-C7013F5492D3}" destId="{9C335F20-C01E-4FCB-8C9B-BE2E75C2DC02}" srcOrd="1" destOrd="0" parTransId="{9E89BE89-6B4D-43EC-95F8-EEE637ECDC50}" sibTransId="{B2F22FF2-970C-4301-BA0E-E228B4CC0157}"/>
    <dgm:cxn modelId="{7F51C722-E87E-45F8-B3E9-F7863CD9E01C}" type="presOf" srcId="{C54684C6-2359-44B0-A8DE-587AD9D28C4F}" destId="{2EF86992-4D44-4FD8-B946-64187CA3ECB7}" srcOrd="0" destOrd="0" presId="urn:microsoft.com/office/officeart/2005/8/layout/hProcess7"/>
    <dgm:cxn modelId="{573A5B25-4D80-4C2A-9286-95C64E8D10EF}" srcId="{A6383047-9D72-4164-8F35-4B6C7B421F18}" destId="{8561CCA5-11F0-448E-B8A4-A88A4F9CAC9E}" srcOrd="1" destOrd="0" parTransId="{71F1F7F6-F90F-4CB2-BA09-D4D7CA9B2CF1}" sibTransId="{AE8B4BC2-A389-47B9-B93D-6201A4E98295}"/>
    <dgm:cxn modelId="{B10C343A-50A9-4777-90B2-2BD7D68C957D}" type="presOf" srcId="{9C335F20-C01E-4FCB-8C9B-BE2E75C2DC02}" destId="{145764AB-0D42-4F49-AACD-48C599BEDFC3}" srcOrd="0" destOrd="1" presId="urn:microsoft.com/office/officeart/2005/8/layout/hProcess7"/>
    <dgm:cxn modelId="{EFC2253D-59CD-421F-8606-8A9D7221E71F}" srcId="{8561CCA5-11F0-448E-B8A4-A88A4F9CAC9E}" destId="{2426DD4A-52A6-4E1B-8A38-179E03FFFA1C}" srcOrd="0" destOrd="0" parTransId="{B0EE5126-A6A1-4ECB-B41F-8A8A0287DD57}" sibTransId="{1833380B-EBB7-4076-B0F4-CF7FD02DBAE7}"/>
    <dgm:cxn modelId="{9C7DBA3E-9E33-49B4-8ECF-8AA2FB3DD014}" srcId="{A6383047-9D72-4164-8F35-4B6C7B421F18}" destId="{4B7866B2-242E-46C9-A62A-8CA018D4A02C}" srcOrd="3" destOrd="0" parTransId="{33363E65-3C19-4249-9B90-7AC8AB11219A}" sibTransId="{A02B0AF9-CA2C-41A6-AD4F-EA4DBF39D2D6}"/>
    <dgm:cxn modelId="{DBBF7640-21F1-4AFE-A484-1B744E8F28C2}" srcId="{4B7866B2-242E-46C9-A62A-8CA018D4A02C}" destId="{CEC531DC-8548-40E5-96B6-2DAC5FFD6286}" srcOrd="1" destOrd="0" parTransId="{748924A6-043B-40AC-AF33-CD2D98C4FFC4}" sibTransId="{5447D48C-CF31-42EA-9B20-E5D9A3E3F5B3}"/>
    <dgm:cxn modelId="{D0D74C5D-9058-4AE7-888D-072A043D3930}" type="presOf" srcId="{E8F626AC-3C4C-4790-A28F-064113626555}" destId="{63CBD545-5EFC-40E2-A5B9-A1F51B2B7741}" srcOrd="0" destOrd="2" presId="urn:microsoft.com/office/officeart/2005/8/layout/hProcess7"/>
    <dgm:cxn modelId="{BCFFC246-3E0C-43A4-9100-05FDA0E6FEC9}" srcId="{2DD28BB5-B5B9-4F56-A362-C7013F5492D3}" destId="{CAF12BFB-3266-43CD-A607-E15CDCFAA3FE}" srcOrd="0" destOrd="0" parTransId="{D8881E7E-964D-4D80-AA1E-8F06B2F68496}" sibTransId="{7261B415-809B-4FF2-A45E-29C4D3095D01}"/>
    <dgm:cxn modelId="{46160F53-F65F-48A2-85AC-0956BD9A16A8}" srcId="{4B7866B2-242E-46C9-A62A-8CA018D4A02C}" destId="{9AC1F878-A535-4567-8B5E-243C400D2CF1}" srcOrd="2" destOrd="0" parTransId="{9E23E289-707F-4AFB-A907-B49BF85DE7D1}" sibTransId="{7915E33F-C5DC-45B8-A735-EBF25DD4B760}"/>
    <dgm:cxn modelId="{159D4053-17C8-4789-8F2C-1B4009E7D798}" srcId="{C54684C6-2359-44B0-A8DE-587AD9D28C4F}" destId="{0650CC5F-FCF9-449F-918B-E046BA6C1DC4}" srcOrd="1" destOrd="0" parTransId="{17848F1B-AFBB-45F5-A47C-BE357419CA37}" sibTransId="{B6C55499-9371-4E18-BC38-50D6DE8D6476}"/>
    <dgm:cxn modelId="{7B516253-33FF-41F6-863C-EABAA34E9E0B}" type="presOf" srcId="{A7288683-C75F-47BA-937A-FD07041F5B09}" destId="{145764AB-0D42-4F49-AACD-48C599BEDFC3}" srcOrd="0" destOrd="2" presId="urn:microsoft.com/office/officeart/2005/8/layout/hProcess7"/>
    <dgm:cxn modelId="{3866FC73-F1FD-4B93-AA89-6C547F4B914D}" type="presOf" srcId="{0650CC5F-FCF9-449F-918B-E046BA6C1DC4}" destId="{279380AD-036E-4396-B9A4-2D7502EBAA77}" srcOrd="0" destOrd="1" presId="urn:microsoft.com/office/officeart/2005/8/layout/hProcess7"/>
    <dgm:cxn modelId="{1EC6E577-7603-4955-9918-31CB0778C625}" type="presOf" srcId="{97DFF4FE-DCA5-4201-A33E-CD33E24EAA02}" destId="{63CBD545-5EFC-40E2-A5B9-A1F51B2B7741}" srcOrd="0" destOrd="1" presId="urn:microsoft.com/office/officeart/2005/8/layout/hProcess7"/>
    <dgm:cxn modelId="{9BABFC57-2D01-4C12-82DA-6494942EF404}" type="presOf" srcId="{C54684C6-2359-44B0-A8DE-587AD9D28C4F}" destId="{3458A2A8-B213-43F5-ADF8-4BC62DC79472}" srcOrd="1" destOrd="0" presId="urn:microsoft.com/office/officeart/2005/8/layout/hProcess7"/>
    <dgm:cxn modelId="{93B75F58-AC61-4007-97C6-7A463F049937}" type="presOf" srcId="{2426DD4A-52A6-4E1B-8A38-179E03FFFA1C}" destId="{63CBD545-5EFC-40E2-A5B9-A1F51B2B7741}" srcOrd="0" destOrd="0" presId="urn:microsoft.com/office/officeart/2005/8/layout/hProcess7"/>
    <dgm:cxn modelId="{BB825380-BBE6-49D1-BFD1-9A5A14287A82}" type="presOf" srcId="{CEC531DC-8548-40E5-96B6-2DAC5FFD6286}" destId="{35B5425B-2CCD-4A56-BDDB-D05522A36292}" srcOrd="0" destOrd="1" presId="urn:microsoft.com/office/officeart/2005/8/layout/hProcess7"/>
    <dgm:cxn modelId="{F3E8F086-0964-4A75-ADE4-F7A8B7B79EB2}" type="presOf" srcId="{2DD28BB5-B5B9-4F56-A362-C7013F5492D3}" destId="{091394A5-5306-46F9-8003-B7B21CB7D21E}" srcOrd="1" destOrd="0" presId="urn:microsoft.com/office/officeart/2005/8/layout/hProcess7"/>
    <dgm:cxn modelId="{E3C95487-89AD-4921-A8BC-2B3FCD06F711}" type="presOf" srcId="{CAF12BFB-3266-43CD-A607-E15CDCFAA3FE}" destId="{145764AB-0D42-4F49-AACD-48C599BEDFC3}" srcOrd="0" destOrd="0" presId="urn:microsoft.com/office/officeart/2005/8/layout/hProcess7"/>
    <dgm:cxn modelId="{476E3B8C-E25B-4974-9B76-FB75E9FE0094}" type="presOf" srcId="{59DAC266-E436-4BFD-B18E-D8EB680A0575}" destId="{279380AD-036E-4396-B9A4-2D7502EBAA77}" srcOrd="0" destOrd="2" presId="urn:microsoft.com/office/officeart/2005/8/layout/hProcess7"/>
    <dgm:cxn modelId="{B55A778C-F292-4B13-B1D0-0C572AE8ECD7}" type="presOf" srcId="{8561CCA5-11F0-448E-B8A4-A88A4F9CAC9E}" destId="{9E003ABF-A599-4FDE-8206-DB218E003662}" srcOrd="1" destOrd="0" presId="urn:microsoft.com/office/officeart/2005/8/layout/hProcess7"/>
    <dgm:cxn modelId="{D8495F8D-4ED5-40DB-8234-76D7A9655741}" srcId="{C54684C6-2359-44B0-A8DE-587AD9D28C4F}" destId="{59DAC266-E436-4BFD-B18E-D8EB680A0575}" srcOrd="2" destOrd="0" parTransId="{26CE417B-828B-41F8-B06B-9FEB25C99FA2}" sibTransId="{FF9FAA6C-E86D-4253-86AB-457C7DB1A143}"/>
    <dgm:cxn modelId="{4E137EA0-4124-4ED8-A3D8-E0FF277DBAB7}" type="presOf" srcId="{B2E30205-5CCC-4B60-93C6-8C0F690EBA40}" destId="{35B5425B-2CCD-4A56-BDDB-D05522A36292}" srcOrd="0" destOrd="0" presId="urn:microsoft.com/office/officeart/2005/8/layout/hProcess7"/>
    <dgm:cxn modelId="{B101D2BE-D6E0-42BA-B36A-277F0CFE4FF2}" srcId="{4B7866B2-242E-46C9-A62A-8CA018D4A02C}" destId="{B2E30205-5CCC-4B60-93C6-8C0F690EBA40}" srcOrd="0" destOrd="0" parTransId="{7E19BA08-DA3F-4C5E-8C5B-418C9A996DFE}" sibTransId="{CA31A7AD-66AF-482E-B893-7CE871D9A7F6}"/>
    <dgm:cxn modelId="{D0BACEC3-5C86-4B7D-BB51-09942955DF75}" srcId="{C54684C6-2359-44B0-A8DE-587AD9D28C4F}" destId="{71107E35-F8ED-4D55-A999-8A4BC970509A}" srcOrd="0" destOrd="0" parTransId="{17BD8EB9-CF23-4AD9-BD95-2E2FCF9B839E}" sibTransId="{8850747B-966C-4EBC-B307-FFD56C36EFEC}"/>
    <dgm:cxn modelId="{E2D4C1C8-2DB1-4348-92FD-9B977191282B}" srcId="{A6383047-9D72-4164-8F35-4B6C7B421F18}" destId="{2DD28BB5-B5B9-4F56-A362-C7013F5492D3}" srcOrd="0" destOrd="0" parTransId="{438A25E7-F556-4D62-9A7C-42DBE61A5242}" sibTransId="{8477DA20-F9D1-419F-8645-FB4F0CA990F3}"/>
    <dgm:cxn modelId="{83A9EBCE-1846-428E-9569-9B3569FDF8AE}" type="presOf" srcId="{4B7866B2-242E-46C9-A62A-8CA018D4A02C}" destId="{B18EA44E-1B5E-404B-A36F-BD1E1D8FDDD0}" srcOrd="1" destOrd="0" presId="urn:microsoft.com/office/officeart/2005/8/layout/hProcess7"/>
    <dgm:cxn modelId="{7A59B9D3-A354-4809-B6B3-025DE777DC5F}" type="presOf" srcId="{A6383047-9D72-4164-8F35-4B6C7B421F18}" destId="{514F0C2D-99DB-4524-B3AE-15072C8111FD}" srcOrd="0" destOrd="0" presId="urn:microsoft.com/office/officeart/2005/8/layout/hProcess7"/>
    <dgm:cxn modelId="{99D4BBD9-056B-4E43-BF96-E8A0DA8E4FCB}" type="presOf" srcId="{9AC1F878-A535-4567-8B5E-243C400D2CF1}" destId="{35B5425B-2CCD-4A56-BDDB-D05522A36292}" srcOrd="0" destOrd="2" presId="urn:microsoft.com/office/officeart/2005/8/layout/hProcess7"/>
    <dgm:cxn modelId="{4CFC76DB-64EE-4719-BFE3-E8A53BEB1623}" type="presOf" srcId="{2DD28BB5-B5B9-4F56-A362-C7013F5492D3}" destId="{CD291087-2E7F-4F92-9AC7-B8111F35EEF9}" srcOrd="0" destOrd="0" presId="urn:microsoft.com/office/officeart/2005/8/layout/hProcess7"/>
    <dgm:cxn modelId="{9AA15DF0-E3B4-49B8-B679-35A6B600D9F9}" srcId="{8561CCA5-11F0-448E-B8A4-A88A4F9CAC9E}" destId="{E8F626AC-3C4C-4790-A28F-064113626555}" srcOrd="2" destOrd="0" parTransId="{ACB11B5B-DD79-4BD5-92BD-3366E7C83948}" sibTransId="{0EF5EB0E-8079-4448-ACD8-634FCEB33ABE}"/>
    <dgm:cxn modelId="{F6A091F7-54E1-485B-9406-979408FCCD8C}" type="presOf" srcId="{8561CCA5-11F0-448E-B8A4-A88A4F9CAC9E}" destId="{645BE98D-904B-49B5-90B3-8DA6363D6232}" srcOrd="0" destOrd="0" presId="urn:microsoft.com/office/officeart/2005/8/layout/hProcess7"/>
    <dgm:cxn modelId="{533414FD-7DA6-4DDC-AD6D-269F4DCDFC0F}" srcId="{A6383047-9D72-4164-8F35-4B6C7B421F18}" destId="{C54684C6-2359-44B0-A8DE-587AD9D28C4F}" srcOrd="2" destOrd="0" parTransId="{833D1C6B-A150-4BB3-B783-0EE8D056C443}" sibTransId="{FC664238-3CEE-4984-9B8C-41BF426DD54A}"/>
    <dgm:cxn modelId="{4179385D-6EBB-411F-BE33-2AAD659415AE}" type="presParOf" srcId="{514F0C2D-99DB-4524-B3AE-15072C8111FD}" destId="{F694C567-5571-4345-80DA-F751A447715D}" srcOrd="0" destOrd="0" presId="urn:microsoft.com/office/officeart/2005/8/layout/hProcess7"/>
    <dgm:cxn modelId="{02F22C54-6C26-44FD-9F10-1BB243707C56}" type="presParOf" srcId="{F694C567-5571-4345-80DA-F751A447715D}" destId="{CD291087-2E7F-4F92-9AC7-B8111F35EEF9}" srcOrd="0" destOrd="0" presId="urn:microsoft.com/office/officeart/2005/8/layout/hProcess7"/>
    <dgm:cxn modelId="{8C922658-27EC-4C57-948A-BADD0765E7F8}" type="presParOf" srcId="{F694C567-5571-4345-80DA-F751A447715D}" destId="{091394A5-5306-46F9-8003-B7B21CB7D21E}" srcOrd="1" destOrd="0" presId="urn:microsoft.com/office/officeart/2005/8/layout/hProcess7"/>
    <dgm:cxn modelId="{DC16C1D8-661E-44A6-8D62-12ACA6F66FDB}" type="presParOf" srcId="{F694C567-5571-4345-80DA-F751A447715D}" destId="{145764AB-0D42-4F49-AACD-48C599BEDFC3}" srcOrd="2" destOrd="0" presId="urn:microsoft.com/office/officeart/2005/8/layout/hProcess7"/>
    <dgm:cxn modelId="{5896A74E-91D9-4461-A69A-DE0CBB442837}" type="presParOf" srcId="{514F0C2D-99DB-4524-B3AE-15072C8111FD}" destId="{8E5211A2-5801-428C-8850-E903C624D646}" srcOrd="1" destOrd="0" presId="urn:microsoft.com/office/officeart/2005/8/layout/hProcess7"/>
    <dgm:cxn modelId="{39034E19-E587-48A0-A3AB-D18EF363C88D}" type="presParOf" srcId="{514F0C2D-99DB-4524-B3AE-15072C8111FD}" destId="{A8B2A1A9-395D-48DB-85FC-68D3E12DE4FC}" srcOrd="2" destOrd="0" presId="urn:microsoft.com/office/officeart/2005/8/layout/hProcess7"/>
    <dgm:cxn modelId="{F9F4FEBF-E9F1-4123-AD02-CBA49CDFD722}" type="presParOf" srcId="{A8B2A1A9-395D-48DB-85FC-68D3E12DE4FC}" destId="{5E8EB417-58A8-47CA-86C5-62287ABF7497}" srcOrd="0" destOrd="0" presId="urn:microsoft.com/office/officeart/2005/8/layout/hProcess7"/>
    <dgm:cxn modelId="{42ABA708-401E-4B0D-8E43-735CCE61AF8B}" type="presParOf" srcId="{A8B2A1A9-395D-48DB-85FC-68D3E12DE4FC}" destId="{C5D64123-6DFB-4667-86D3-2E7B21765CC4}" srcOrd="1" destOrd="0" presId="urn:microsoft.com/office/officeart/2005/8/layout/hProcess7"/>
    <dgm:cxn modelId="{37CB1EED-D88B-4554-A9D1-AB8289F3412F}" type="presParOf" srcId="{A8B2A1A9-395D-48DB-85FC-68D3E12DE4FC}" destId="{3D4ED328-564C-4B42-804F-2E97FB991A42}" srcOrd="2" destOrd="0" presId="urn:microsoft.com/office/officeart/2005/8/layout/hProcess7"/>
    <dgm:cxn modelId="{96D3EC1E-CECE-49DD-992C-D226CBD3DC08}" type="presParOf" srcId="{514F0C2D-99DB-4524-B3AE-15072C8111FD}" destId="{35062307-791B-4974-A3F5-A24D719C5C94}" srcOrd="3" destOrd="0" presId="urn:microsoft.com/office/officeart/2005/8/layout/hProcess7"/>
    <dgm:cxn modelId="{1FFFEEB0-65CF-4193-BC20-00A81B59927D}" type="presParOf" srcId="{514F0C2D-99DB-4524-B3AE-15072C8111FD}" destId="{B64EF5D3-522A-4379-B04D-645F40E512E0}" srcOrd="4" destOrd="0" presId="urn:microsoft.com/office/officeart/2005/8/layout/hProcess7"/>
    <dgm:cxn modelId="{2DC66D31-FA97-4EBA-BA7B-A541B7793CD2}" type="presParOf" srcId="{B64EF5D3-522A-4379-B04D-645F40E512E0}" destId="{645BE98D-904B-49B5-90B3-8DA6363D6232}" srcOrd="0" destOrd="0" presId="urn:microsoft.com/office/officeart/2005/8/layout/hProcess7"/>
    <dgm:cxn modelId="{3AE321DD-20CA-4FBB-B89D-77BD588B2438}" type="presParOf" srcId="{B64EF5D3-522A-4379-B04D-645F40E512E0}" destId="{9E003ABF-A599-4FDE-8206-DB218E003662}" srcOrd="1" destOrd="0" presId="urn:microsoft.com/office/officeart/2005/8/layout/hProcess7"/>
    <dgm:cxn modelId="{43DCBB0E-5CF7-4C08-80D4-B20CB866BE87}" type="presParOf" srcId="{B64EF5D3-522A-4379-B04D-645F40E512E0}" destId="{63CBD545-5EFC-40E2-A5B9-A1F51B2B7741}" srcOrd="2" destOrd="0" presId="urn:microsoft.com/office/officeart/2005/8/layout/hProcess7"/>
    <dgm:cxn modelId="{15EC6197-2B5C-43F2-88B5-D12B2E395031}" type="presParOf" srcId="{514F0C2D-99DB-4524-B3AE-15072C8111FD}" destId="{C8169128-B31D-4F50-BA17-C3757D08FA12}" srcOrd="5" destOrd="0" presId="urn:microsoft.com/office/officeart/2005/8/layout/hProcess7"/>
    <dgm:cxn modelId="{FCDA20D5-1ABF-429A-8C34-C85B5BEF6C3C}" type="presParOf" srcId="{514F0C2D-99DB-4524-B3AE-15072C8111FD}" destId="{CC988D40-95BD-4F3A-87E2-5E7AF2060C12}" srcOrd="6" destOrd="0" presId="urn:microsoft.com/office/officeart/2005/8/layout/hProcess7"/>
    <dgm:cxn modelId="{2AC21257-57A1-4CBC-8B44-56D72FC8536D}" type="presParOf" srcId="{CC988D40-95BD-4F3A-87E2-5E7AF2060C12}" destId="{49D54E61-EA17-439F-A0DD-B34BE9FF4F87}" srcOrd="0" destOrd="0" presId="urn:microsoft.com/office/officeart/2005/8/layout/hProcess7"/>
    <dgm:cxn modelId="{E0853DFB-86AC-423B-87FF-B19412B79822}" type="presParOf" srcId="{CC988D40-95BD-4F3A-87E2-5E7AF2060C12}" destId="{05C4FF49-E7BF-4363-BC25-B9BF7B00484F}" srcOrd="1" destOrd="0" presId="urn:microsoft.com/office/officeart/2005/8/layout/hProcess7"/>
    <dgm:cxn modelId="{7FF36BA0-2247-4537-90B9-F75D07AF8CCA}" type="presParOf" srcId="{CC988D40-95BD-4F3A-87E2-5E7AF2060C12}" destId="{211608C3-C45B-4C0C-BFF4-ACD74F04E70A}" srcOrd="2" destOrd="0" presId="urn:microsoft.com/office/officeart/2005/8/layout/hProcess7"/>
    <dgm:cxn modelId="{9158839A-DA15-4227-ABB6-5E2A70C8BB2F}" type="presParOf" srcId="{514F0C2D-99DB-4524-B3AE-15072C8111FD}" destId="{8B28D286-03D8-43DC-8AA9-AABBA92ACDBD}" srcOrd="7" destOrd="0" presId="urn:microsoft.com/office/officeart/2005/8/layout/hProcess7"/>
    <dgm:cxn modelId="{33D24F50-25D7-4669-8784-FF2CC0A9700A}" type="presParOf" srcId="{514F0C2D-99DB-4524-B3AE-15072C8111FD}" destId="{CE14F9AE-5750-4FC7-87C6-B3A26D7FBC28}" srcOrd="8" destOrd="0" presId="urn:microsoft.com/office/officeart/2005/8/layout/hProcess7"/>
    <dgm:cxn modelId="{11AE2DCA-63C4-4FB5-BF20-C6BD13D5FBBC}" type="presParOf" srcId="{CE14F9AE-5750-4FC7-87C6-B3A26D7FBC28}" destId="{2EF86992-4D44-4FD8-B946-64187CA3ECB7}" srcOrd="0" destOrd="0" presId="urn:microsoft.com/office/officeart/2005/8/layout/hProcess7"/>
    <dgm:cxn modelId="{ECABD1C9-647E-4DE0-B242-61B5282DE6B6}" type="presParOf" srcId="{CE14F9AE-5750-4FC7-87C6-B3A26D7FBC28}" destId="{3458A2A8-B213-43F5-ADF8-4BC62DC79472}" srcOrd="1" destOrd="0" presId="urn:microsoft.com/office/officeart/2005/8/layout/hProcess7"/>
    <dgm:cxn modelId="{F082922C-5B90-41B3-8DAD-55FCD36020F8}" type="presParOf" srcId="{CE14F9AE-5750-4FC7-87C6-B3A26D7FBC28}" destId="{279380AD-036E-4396-B9A4-2D7502EBAA77}" srcOrd="2" destOrd="0" presId="urn:microsoft.com/office/officeart/2005/8/layout/hProcess7"/>
    <dgm:cxn modelId="{AFFDC136-9DFA-4F19-ACB9-D6CFD0DECE7F}" type="presParOf" srcId="{514F0C2D-99DB-4524-B3AE-15072C8111FD}" destId="{43B73540-CD75-423C-AB25-388551205C6F}" srcOrd="9" destOrd="0" presId="urn:microsoft.com/office/officeart/2005/8/layout/hProcess7"/>
    <dgm:cxn modelId="{C186628C-43E1-4BD3-ACEE-84F85E5E3E74}" type="presParOf" srcId="{514F0C2D-99DB-4524-B3AE-15072C8111FD}" destId="{9700EE28-CAAF-4249-A670-0EB306BD3EB3}" srcOrd="10" destOrd="0" presId="urn:microsoft.com/office/officeart/2005/8/layout/hProcess7"/>
    <dgm:cxn modelId="{186835B2-2DB2-4172-B9E7-E951287077A8}" type="presParOf" srcId="{9700EE28-CAAF-4249-A670-0EB306BD3EB3}" destId="{AC924308-2810-44C3-93F5-C6C8C82762BB}" srcOrd="0" destOrd="0" presId="urn:microsoft.com/office/officeart/2005/8/layout/hProcess7"/>
    <dgm:cxn modelId="{E1A6B41F-C819-4515-B0FC-EDBB7811F8A3}" type="presParOf" srcId="{9700EE28-CAAF-4249-A670-0EB306BD3EB3}" destId="{4C7247B7-AF92-4A53-BE1D-7DCD1ACB8E6C}" srcOrd="1" destOrd="0" presId="urn:microsoft.com/office/officeart/2005/8/layout/hProcess7"/>
    <dgm:cxn modelId="{3C4BA4E6-163C-4BBB-820D-0A9FB623DF3B}" type="presParOf" srcId="{9700EE28-CAAF-4249-A670-0EB306BD3EB3}" destId="{2A253223-4A79-47B9-A913-8DDC345BB572}" srcOrd="2" destOrd="0" presId="urn:microsoft.com/office/officeart/2005/8/layout/hProcess7"/>
    <dgm:cxn modelId="{8EA21E1A-189A-4D0B-8843-213CB8CDC5DA}" type="presParOf" srcId="{514F0C2D-99DB-4524-B3AE-15072C8111FD}" destId="{BDE104A0-F38A-44A6-A9DE-5D9C4E83B7D3}" srcOrd="11" destOrd="0" presId="urn:microsoft.com/office/officeart/2005/8/layout/hProcess7"/>
    <dgm:cxn modelId="{5C2E8A3C-3F86-4926-A0C9-E1CEDFAA4FFD}" type="presParOf" srcId="{514F0C2D-99DB-4524-B3AE-15072C8111FD}" destId="{FCFA266C-278B-47D3-9ABE-4041BF424427}" srcOrd="12" destOrd="0" presId="urn:microsoft.com/office/officeart/2005/8/layout/hProcess7"/>
    <dgm:cxn modelId="{EF6D51C1-1246-4BC1-9E64-A70B188278DE}" type="presParOf" srcId="{FCFA266C-278B-47D3-9ABE-4041BF424427}" destId="{19A944B9-398F-4CD6-8394-794391771E0A}" srcOrd="0" destOrd="0" presId="urn:microsoft.com/office/officeart/2005/8/layout/hProcess7"/>
    <dgm:cxn modelId="{F04AE150-C733-4D25-9149-DCA443BDEB5F}" type="presParOf" srcId="{FCFA266C-278B-47D3-9ABE-4041BF424427}" destId="{B18EA44E-1B5E-404B-A36F-BD1E1D8FDDD0}" srcOrd="1" destOrd="0" presId="urn:microsoft.com/office/officeart/2005/8/layout/hProcess7"/>
    <dgm:cxn modelId="{E1EC2F25-C7EA-4E8B-918C-39AB2B59900A}" type="presParOf" srcId="{FCFA266C-278B-47D3-9ABE-4041BF424427}" destId="{35B5425B-2CCD-4A56-BDDB-D05522A36292}" srcOrd="2" destOrd="0" presId="urn:microsoft.com/office/officeart/2005/8/layout/hProcess7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E08351-028F-4975-B855-0A53754E93A3}">
      <dsp:nvSpPr>
        <dsp:cNvPr id="0" name=""/>
        <dsp:cNvSpPr/>
      </dsp:nvSpPr>
      <dsp:spPr>
        <a:xfrm>
          <a:off x="0" y="184281"/>
          <a:ext cx="5854700" cy="65834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9D1E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4390" tIns="229108" rIns="454390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IN" sz="1200" kern="1200"/>
            <a:t>7–13B LLM (bank-tuned) + vector search + SQL/API retrieval; </a:t>
          </a:r>
          <a:r>
            <a:rPr lang="en-IN" sz="1200" b="1" kern="1200"/>
            <a:t>chat + voice (vernacular) ASR/TTS</a:t>
          </a:r>
          <a:r>
            <a:rPr lang="en-IN" sz="1200" kern="1200"/>
            <a:t>; strict </a:t>
          </a:r>
          <a:r>
            <a:rPr lang="en-IN" sz="1200" b="1" kern="1200"/>
            <a:t>customer-scope filters</a:t>
          </a:r>
          <a:r>
            <a:rPr lang="en-IN" sz="1200" kern="1200"/>
            <a:t> before the LLM.</a:t>
          </a:r>
        </a:p>
      </dsp:txBody>
      <dsp:txXfrm>
        <a:off x="0" y="184281"/>
        <a:ext cx="5854700" cy="658349"/>
      </dsp:txXfrm>
    </dsp:sp>
    <dsp:sp modelId="{2286E6CA-52B2-4370-BA4E-801A5473A871}">
      <dsp:nvSpPr>
        <dsp:cNvPr id="0" name=""/>
        <dsp:cNvSpPr/>
      </dsp:nvSpPr>
      <dsp:spPr>
        <a:xfrm>
          <a:off x="292735" y="21921"/>
          <a:ext cx="4098290" cy="324720"/>
        </a:xfrm>
        <a:prstGeom prst="roundRect">
          <a:avLst/>
        </a:prstGeom>
        <a:solidFill>
          <a:srgbClr val="9D1E27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4906" tIns="0" rIns="154906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/>
            <a:t>On-prem RAG stack</a:t>
          </a:r>
          <a:endParaRPr lang="en-IN" sz="1200" kern="1200"/>
        </a:p>
      </dsp:txBody>
      <dsp:txXfrm>
        <a:off x="308587" y="37773"/>
        <a:ext cx="4066586" cy="293016"/>
      </dsp:txXfrm>
    </dsp:sp>
    <dsp:sp modelId="{04B0A627-B95D-4794-A550-89F9CCFD7FCF}">
      <dsp:nvSpPr>
        <dsp:cNvPr id="0" name=""/>
        <dsp:cNvSpPr/>
      </dsp:nvSpPr>
      <dsp:spPr>
        <a:xfrm>
          <a:off x="0" y="1064391"/>
          <a:ext cx="5854700" cy="65834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9D1E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4390" tIns="229108" rIns="454390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/>
            <a:t>P50 ≤ </a:t>
          </a:r>
          <a:r>
            <a:rPr lang="en-US" sz="1200" b="1" kern="1200"/>
            <a:t>2s</a:t>
          </a:r>
          <a:r>
            <a:rPr lang="en-US" sz="1200" kern="1200"/>
            <a:t>, P95 ≤ </a:t>
          </a:r>
          <a:r>
            <a:rPr lang="en-US" sz="1200" b="1" kern="1200"/>
            <a:t>4s</a:t>
          </a:r>
          <a:r>
            <a:rPr lang="en-US" sz="1200" kern="1200"/>
            <a:t>; </a:t>
          </a:r>
          <a:r>
            <a:rPr lang="en-US" sz="1200" b="1" kern="1200"/>
            <a:t>1–2k TPS</a:t>
          </a:r>
          <a:r>
            <a:rPr lang="en-US" sz="1200" kern="1200"/>
            <a:t> at national scale; citations + safe-decline when uncertain.</a:t>
          </a:r>
        </a:p>
      </dsp:txBody>
      <dsp:txXfrm>
        <a:off x="0" y="1064391"/>
        <a:ext cx="5854700" cy="658349"/>
      </dsp:txXfrm>
    </dsp:sp>
    <dsp:sp modelId="{0670B2DA-3CC9-4B1D-A0BB-23B231477434}">
      <dsp:nvSpPr>
        <dsp:cNvPr id="0" name=""/>
        <dsp:cNvSpPr/>
      </dsp:nvSpPr>
      <dsp:spPr>
        <a:xfrm>
          <a:off x="292735" y="902031"/>
          <a:ext cx="4098290" cy="324720"/>
        </a:xfrm>
        <a:prstGeom prst="roundRect">
          <a:avLst/>
        </a:prstGeom>
        <a:solidFill>
          <a:srgbClr val="9D1E27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4906" tIns="0" rIns="154906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200" b="1" kern="1200"/>
            <a:t>Target SLOs</a:t>
          </a:r>
          <a:endParaRPr lang="en-US" sz="1200" kern="1200"/>
        </a:p>
      </dsp:txBody>
      <dsp:txXfrm>
        <a:off x="308587" y="917883"/>
        <a:ext cx="4066586" cy="2930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F8C1E3-45EE-4040-87BD-65B481D0E891}">
      <dsp:nvSpPr>
        <dsp:cNvPr id="0" name=""/>
        <dsp:cNvSpPr/>
      </dsp:nvSpPr>
      <dsp:spPr>
        <a:xfrm rot="5400000">
          <a:off x="-145350" y="147621"/>
          <a:ext cx="969002" cy="678302"/>
        </a:xfrm>
        <a:prstGeom prst="chevron">
          <a:avLst/>
        </a:prstGeom>
        <a:solidFill>
          <a:srgbClr val="9D1E27"/>
        </a:solidFill>
        <a:ln w="19050" cap="flat" cmpd="sng" algn="ctr">
          <a:solidFill>
            <a:srgbClr val="9D1E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00" b="1" kern="1200"/>
            <a:t>Pilot (3–6 </a:t>
          </a:r>
          <a:r>
            <a:rPr lang="en-IN" sz="1000" b="1" kern="1200" err="1"/>
            <a:t>mo</a:t>
          </a:r>
          <a:r>
            <a:rPr lang="en-IN" sz="1000" b="1" kern="1200"/>
            <a:t>)</a:t>
          </a:r>
          <a:endParaRPr lang="en-IN" sz="1000" kern="1200"/>
        </a:p>
      </dsp:txBody>
      <dsp:txXfrm rot="-5400000">
        <a:off x="0" y="341422"/>
        <a:ext cx="678302" cy="290700"/>
      </dsp:txXfrm>
    </dsp:sp>
    <dsp:sp modelId="{1DD619A0-61B7-43AF-85B9-B2DE8CF5B254}">
      <dsp:nvSpPr>
        <dsp:cNvPr id="0" name=""/>
        <dsp:cNvSpPr/>
      </dsp:nvSpPr>
      <dsp:spPr>
        <a:xfrm rot="5400000">
          <a:off x="2811709" y="-2131136"/>
          <a:ext cx="630183" cy="4896997"/>
        </a:xfrm>
        <a:prstGeom prst="round2SameRect">
          <a:avLst/>
        </a:prstGeom>
        <a:solidFill>
          <a:srgbClr val="F6CDD3">
            <a:alpha val="90000"/>
          </a:srgbClr>
        </a:solidFill>
        <a:ln w="19050" cap="flat" cmpd="sng" algn="ctr">
          <a:solidFill>
            <a:srgbClr val="9D1E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6350" rIns="6350" bIns="63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IN" sz="1000" b="1" kern="1200"/>
            <a:t>4–8 GPU servers</a:t>
          </a:r>
          <a:r>
            <a:rPr lang="en-IN" sz="1000" kern="1200"/>
            <a:t> (H100/L40S/A100 class), </a:t>
          </a:r>
          <a:r>
            <a:rPr lang="en-IN" sz="1000" b="1" kern="1200"/>
            <a:t>2–3 index/API nodes</a:t>
          </a:r>
          <a:r>
            <a:rPr lang="en-IN" sz="1000" kern="1200"/>
            <a:t>, ~</a:t>
          </a:r>
          <a:r>
            <a:rPr lang="en-IN" sz="1000" b="1" kern="1200"/>
            <a:t>100 TB</a:t>
          </a:r>
          <a:r>
            <a:rPr lang="en-IN" sz="1000" kern="1200"/>
            <a:t> storage → </a:t>
          </a:r>
          <a:r>
            <a:rPr lang="en-IN" sz="1000" b="1" kern="1200"/>
            <a:t>200–500 TPS</a:t>
          </a:r>
          <a:r>
            <a:rPr lang="en-IN" sz="1000" kern="1200"/>
            <a:t>.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IN" sz="1000" b="1" kern="1200"/>
            <a:t>Capex: US$1–3M</a:t>
          </a:r>
          <a:r>
            <a:rPr lang="en-IN" sz="1000" kern="1200"/>
            <a:t> (HW + licenses). </a:t>
          </a:r>
          <a:r>
            <a:rPr lang="en-IN" sz="1000" b="1" kern="1200" err="1"/>
            <a:t>Opex</a:t>
          </a:r>
          <a:r>
            <a:rPr lang="en-IN" sz="1000" b="1" kern="1200"/>
            <a:t>/yr:</a:t>
          </a:r>
          <a:r>
            <a:rPr lang="en-IN" sz="1000" kern="1200"/>
            <a:t> </a:t>
          </a:r>
          <a:r>
            <a:rPr lang="en-IN" sz="1000" b="1" kern="1200"/>
            <a:t>US$0.5–0.9M</a:t>
          </a:r>
          <a:r>
            <a:rPr lang="en-IN" sz="1000" kern="1200"/>
            <a:t> (power/cooling/support, 6–8 FTE).</a:t>
          </a:r>
        </a:p>
      </dsp:txBody>
      <dsp:txXfrm rot="-5400000">
        <a:off x="678303" y="33033"/>
        <a:ext cx="4866234" cy="568657"/>
      </dsp:txXfrm>
    </dsp:sp>
    <dsp:sp modelId="{67D0890B-584B-41B6-BB24-DB68D8AC60B2}">
      <dsp:nvSpPr>
        <dsp:cNvPr id="0" name=""/>
        <dsp:cNvSpPr/>
      </dsp:nvSpPr>
      <dsp:spPr>
        <a:xfrm rot="5400000">
          <a:off x="-145350" y="908623"/>
          <a:ext cx="969002" cy="678302"/>
        </a:xfrm>
        <a:prstGeom prst="chevron">
          <a:avLst/>
        </a:prstGeom>
        <a:solidFill>
          <a:srgbClr val="9D1E27"/>
        </a:solidFill>
        <a:ln w="19050" cap="flat" cmpd="sng" algn="ctr">
          <a:solidFill>
            <a:srgbClr val="9D1E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00" b="1" kern="1200"/>
            <a:t>Rollout (6–12 </a:t>
          </a:r>
          <a:r>
            <a:rPr lang="en-IN" sz="1000" b="1" kern="1200" err="1"/>
            <a:t>mo</a:t>
          </a:r>
          <a:r>
            <a:rPr lang="en-IN" sz="1000" b="1" kern="1200"/>
            <a:t>):</a:t>
          </a:r>
          <a:endParaRPr lang="en-IN" sz="1000" kern="1200"/>
        </a:p>
      </dsp:txBody>
      <dsp:txXfrm rot="-5400000">
        <a:off x="0" y="1102424"/>
        <a:ext cx="678302" cy="290700"/>
      </dsp:txXfrm>
    </dsp:sp>
    <dsp:sp modelId="{D567F680-ED12-40D4-A75D-2B83000CA8CA}">
      <dsp:nvSpPr>
        <dsp:cNvPr id="0" name=""/>
        <dsp:cNvSpPr/>
      </dsp:nvSpPr>
      <dsp:spPr>
        <a:xfrm rot="5400000">
          <a:off x="2811875" y="-1370299"/>
          <a:ext cx="629851" cy="4896997"/>
        </a:xfrm>
        <a:prstGeom prst="round2SameRect">
          <a:avLst/>
        </a:prstGeom>
        <a:solidFill>
          <a:srgbClr val="F6CDD3">
            <a:alpha val="90000"/>
          </a:srgbClr>
        </a:solidFill>
        <a:ln w="19050" cap="flat" cmpd="sng" algn="ctr">
          <a:solidFill>
            <a:srgbClr val="9D1E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6350" rIns="6350" bIns="63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IN" sz="1000" b="1" kern="1200"/>
            <a:t>15–30 GPU servers</a:t>
          </a:r>
          <a:r>
            <a:rPr lang="en-IN" sz="1000" kern="1200"/>
            <a:t>, </a:t>
          </a:r>
          <a:r>
            <a:rPr lang="en-IN" sz="1000" b="1" kern="1200"/>
            <a:t>6–10 index/API nodes</a:t>
          </a:r>
          <a:r>
            <a:rPr lang="en-IN" sz="1000" kern="1200"/>
            <a:t>, </a:t>
          </a:r>
          <a:r>
            <a:rPr lang="en-IN" sz="1000" b="1" kern="1200"/>
            <a:t>300–600 TB</a:t>
          </a:r>
          <a:r>
            <a:rPr lang="en-IN" sz="1000" kern="1200"/>
            <a:t> storage → </a:t>
          </a:r>
          <a:r>
            <a:rPr lang="en-IN" sz="1000" b="1" kern="1200"/>
            <a:t>1–2k TPS</a:t>
          </a:r>
          <a:r>
            <a:rPr lang="en-IN" sz="1000" kern="1200"/>
            <a:t>.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IN" sz="1000" b="1" kern="1200"/>
            <a:t>Capex:</a:t>
          </a:r>
          <a:r>
            <a:rPr lang="en-IN" sz="1000" kern="1200"/>
            <a:t> </a:t>
          </a:r>
          <a:r>
            <a:rPr lang="en-IN" sz="1000" b="1" kern="1200"/>
            <a:t>US$10–25M</a:t>
          </a:r>
          <a:r>
            <a:rPr lang="en-IN" sz="1000" kern="1200"/>
            <a:t>. </a:t>
          </a:r>
          <a:r>
            <a:rPr lang="en-IN" sz="1000" b="1" kern="1200"/>
            <a:t>Opex/yr:</a:t>
          </a:r>
          <a:r>
            <a:rPr lang="en-IN" sz="1000" kern="1200"/>
            <a:t> </a:t>
          </a:r>
          <a:r>
            <a:rPr lang="en-IN" sz="1000" b="1" kern="1200"/>
            <a:t>US$2–4M</a:t>
          </a:r>
          <a:r>
            <a:rPr lang="en-IN" sz="1000" kern="1200"/>
            <a:t> (8–12 FTE).</a:t>
          </a:r>
        </a:p>
      </dsp:txBody>
      <dsp:txXfrm rot="-5400000">
        <a:off x="678303" y="794020"/>
        <a:ext cx="4866250" cy="568357"/>
      </dsp:txXfrm>
    </dsp:sp>
    <dsp:sp modelId="{61981E1D-1A8F-4CE0-B6E9-F5CBBAC0E5E1}">
      <dsp:nvSpPr>
        <dsp:cNvPr id="0" name=""/>
        <dsp:cNvSpPr/>
      </dsp:nvSpPr>
      <dsp:spPr>
        <a:xfrm rot="5400000">
          <a:off x="-145350" y="1669626"/>
          <a:ext cx="969002" cy="678302"/>
        </a:xfrm>
        <a:prstGeom prst="chevron">
          <a:avLst/>
        </a:prstGeom>
        <a:solidFill>
          <a:srgbClr val="9D1E27"/>
        </a:solidFill>
        <a:ln w="19050" cap="flat" cmpd="sng" algn="ctr">
          <a:solidFill>
            <a:srgbClr val="9D1E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00" b="1" kern="1200"/>
            <a:t>Unit economics</a:t>
          </a:r>
          <a:endParaRPr lang="en-IN" sz="1000" kern="1200"/>
        </a:p>
      </dsp:txBody>
      <dsp:txXfrm rot="-5400000">
        <a:off x="0" y="1863427"/>
        <a:ext cx="678302" cy="290700"/>
      </dsp:txXfrm>
    </dsp:sp>
    <dsp:sp modelId="{0DFD337E-5DBD-4AB1-BF1C-6418947E0A0C}">
      <dsp:nvSpPr>
        <dsp:cNvPr id="0" name=""/>
        <dsp:cNvSpPr/>
      </dsp:nvSpPr>
      <dsp:spPr>
        <a:xfrm rot="5400000">
          <a:off x="2811875" y="-595012"/>
          <a:ext cx="629851" cy="4896997"/>
        </a:xfrm>
        <a:prstGeom prst="round2SameRect">
          <a:avLst/>
        </a:prstGeom>
        <a:solidFill>
          <a:srgbClr val="F6CDD3">
            <a:alpha val="90000"/>
          </a:srgbClr>
        </a:solidFill>
        <a:ln w="19050" cap="flat" cmpd="sng" algn="ctr">
          <a:solidFill>
            <a:srgbClr val="9D1E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6350" rIns="6350" bIns="63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IN" sz="1000" kern="1200"/>
            <a:t>8-GPU server ≈ </a:t>
          </a:r>
          <a:r>
            <a:rPr lang="en-IN" sz="1000" b="1" kern="1200"/>
            <a:t>US$150–450k</a:t>
          </a:r>
          <a:r>
            <a:rPr lang="en-IN" sz="1000" kern="1200"/>
            <a:t> (vendor/spec dependent); vector DB license/support if commercial.</a:t>
          </a:r>
        </a:p>
      </dsp:txBody>
      <dsp:txXfrm rot="-5400000">
        <a:off x="678303" y="1569307"/>
        <a:ext cx="4866250" cy="56835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2AB839-569E-4F53-B43B-B1CE7E2F2219}">
      <dsp:nvSpPr>
        <dsp:cNvPr id="0" name=""/>
        <dsp:cNvSpPr/>
      </dsp:nvSpPr>
      <dsp:spPr>
        <a:xfrm rot="5400000">
          <a:off x="3303855" y="-1336692"/>
          <a:ext cx="555850" cy="3371088"/>
        </a:xfrm>
        <a:prstGeom prst="round2SameRect">
          <a:avLst/>
        </a:prstGeom>
        <a:solidFill>
          <a:srgbClr val="F6CDD3"/>
        </a:solidFill>
        <a:ln w="19050" cap="flat" cmpd="sng" algn="ctr">
          <a:solidFill>
            <a:srgbClr val="9D1E27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RAG grounding, confidence thresholds, </a:t>
          </a:r>
          <a:r>
            <a:rPr lang="en-US" sz="1200" b="1" kern="1200"/>
            <a:t>supervisor check</a:t>
          </a:r>
          <a:r>
            <a:rPr lang="en-US" sz="1200" kern="1200"/>
            <a:t>; cite sources or decline.</a:t>
          </a:r>
          <a:endParaRPr lang="en-IN" sz="1200" kern="1200"/>
        </a:p>
      </dsp:txBody>
      <dsp:txXfrm rot="-5400000">
        <a:off x="1896236" y="98061"/>
        <a:ext cx="3343954" cy="501582"/>
      </dsp:txXfrm>
    </dsp:sp>
    <dsp:sp modelId="{0E91608E-A539-4900-BF04-A34E08191BDA}">
      <dsp:nvSpPr>
        <dsp:cNvPr id="0" name=""/>
        <dsp:cNvSpPr/>
      </dsp:nvSpPr>
      <dsp:spPr>
        <a:xfrm>
          <a:off x="0" y="1444"/>
          <a:ext cx="1896237" cy="694813"/>
        </a:xfrm>
        <a:prstGeom prst="roundRect">
          <a:avLst/>
        </a:prstGeom>
        <a:solidFill>
          <a:srgbClr val="9D1E27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/>
            <a:t>Hallucinations</a:t>
          </a:r>
          <a:endParaRPr lang="en-IN" sz="1200" kern="1200"/>
        </a:p>
      </dsp:txBody>
      <dsp:txXfrm>
        <a:off x="33918" y="35362"/>
        <a:ext cx="1828401" cy="626977"/>
      </dsp:txXfrm>
    </dsp:sp>
    <dsp:sp modelId="{D35026FD-E57B-40C1-A9F6-15918D4FC5BB}">
      <dsp:nvSpPr>
        <dsp:cNvPr id="0" name=""/>
        <dsp:cNvSpPr/>
      </dsp:nvSpPr>
      <dsp:spPr>
        <a:xfrm rot="5400000">
          <a:off x="3303855" y="-607138"/>
          <a:ext cx="555850" cy="3371088"/>
        </a:xfrm>
        <a:prstGeom prst="round2SameRect">
          <a:avLst/>
        </a:prstGeom>
        <a:solidFill>
          <a:srgbClr val="F6CDD3"/>
        </a:solidFill>
        <a:ln w="19050" cap="flat" cmpd="sng" algn="ctr">
          <a:solidFill>
            <a:srgbClr val="9D1E27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IN" sz="1200" b="1" kern="1200"/>
            <a:t>Row-/doc-level </a:t>
          </a:r>
          <a:r>
            <a:rPr lang="en-IN" sz="1200" b="1" kern="1200" err="1"/>
            <a:t>AuthZ</a:t>
          </a:r>
          <a:r>
            <a:rPr lang="en-IN" sz="1200" kern="1200"/>
            <a:t> pre-retrieval, encryption in transit/at rest, output redaction, full audit.</a:t>
          </a:r>
        </a:p>
      </dsp:txBody>
      <dsp:txXfrm rot="-5400000">
        <a:off x="1896236" y="827615"/>
        <a:ext cx="3343954" cy="501582"/>
      </dsp:txXfrm>
    </dsp:sp>
    <dsp:sp modelId="{FD076C11-B63A-4CD9-A800-79BFADEBC96D}">
      <dsp:nvSpPr>
        <dsp:cNvPr id="0" name=""/>
        <dsp:cNvSpPr/>
      </dsp:nvSpPr>
      <dsp:spPr>
        <a:xfrm>
          <a:off x="0" y="730998"/>
          <a:ext cx="1896237" cy="694813"/>
        </a:xfrm>
        <a:prstGeom prst="roundRect">
          <a:avLst/>
        </a:prstGeom>
        <a:solidFill>
          <a:srgbClr val="9D1E27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/>
            <a:t>PII/Access leakage</a:t>
          </a:r>
          <a:endParaRPr lang="en-IN" sz="1200" kern="1200"/>
        </a:p>
      </dsp:txBody>
      <dsp:txXfrm>
        <a:off x="33918" y="764916"/>
        <a:ext cx="1828401" cy="626977"/>
      </dsp:txXfrm>
    </dsp:sp>
    <dsp:sp modelId="{C63AB7A2-DA86-4544-A35C-1C160E519697}">
      <dsp:nvSpPr>
        <dsp:cNvPr id="0" name=""/>
        <dsp:cNvSpPr/>
      </dsp:nvSpPr>
      <dsp:spPr>
        <a:xfrm rot="5400000">
          <a:off x="3303855" y="122416"/>
          <a:ext cx="555850" cy="3371088"/>
        </a:xfrm>
        <a:prstGeom prst="round2SameRect">
          <a:avLst/>
        </a:prstGeom>
        <a:solidFill>
          <a:srgbClr val="F6CDD3"/>
        </a:solidFill>
        <a:ln w="19050" cap="flat" cmpd="sng" algn="ctr">
          <a:solidFill>
            <a:srgbClr val="9D1E27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200" kern="1200"/>
            <a:t>Quantization/distillation, batching, caching, streaming ASR; </a:t>
          </a:r>
          <a:r>
            <a:rPr lang="en-US" sz="1200" kern="1200" err="1"/>
            <a:t>autoscale</a:t>
          </a:r>
          <a:r>
            <a:rPr lang="en-US" sz="1200" kern="1200"/>
            <a:t> within DC.</a:t>
          </a:r>
        </a:p>
      </dsp:txBody>
      <dsp:txXfrm rot="-5400000">
        <a:off x="1896236" y="1557169"/>
        <a:ext cx="3343954" cy="501582"/>
      </dsp:txXfrm>
    </dsp:sp>
    <dsp:sp modelId="{859755EE-08DA-43B3-A4A9-D1B50021E635}">
      <dsp:nvSpPr>
        <dsp:cNvPr id="0" name=""/>
        <dsp:cNvSpPr/>
      </dsp:nvSpPr>
      <dsp:spPr>
        <a:xfrm>
          <a:off x="0" y="1460553"/>
          <a:ext cx="1896237" cy="694813"/>
        </a:xfrm>
        <a:prstGeom prst="roundRect">
          <a:avLst/>
        </a:prstGeom>
        <a:solidFill>
          <a:srgbClr val="9D1E27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/>
            <a:t>Latency</a:t>
          </a:r>
          <a:endParaRPr lang="en-US" sz="1200" kern="1200"/>
        </a:p>
      </dsp:txBody>
      <dsp:txXfrm>
        <a:off x="33918" y="1494471"/>
        <a:ext cx="1828401" cy="626977"/>
      </dsp:txXfrm>
    </dsp:sp>
    <dsp:sp modelId="{2ADAE74D-84B9-4B14-9138-590B8F1B7E74}">
      <dsp:nvSpPr>
        <dsp:cNvPr id="0" name=""/>
        <dsp:cNvSpPr/>
      </dsp:nvSpPr>
      <dsp:spPr>
        <a:xfrm rot="5400000">
          <a:off x="3303855" y="851970"/>
          <a:ext cx="555850" cy="3371088"/>
        </a:xfrm>
        <a:prstGeom prst="round2SameRect">
          <a:avLst/>
        </a:prstGeom>
        <a:solidFill>
          <a:srgbClr val="F6CDD3"/>
        </a:solidFill>
        <a:ln w="19050" cap="flat" cmpd="sng" algn="ctr">
          <a:solidFill>
            <a:srgbClr val="9D1E27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200" kern="1200"/>
            <a:t>Monthly eval + fine-tune, live index refresh, allow/deny lists, human-handoff for high-risk intents.</a:t>
          </a:r>
        </a:p>
      </dsp:txBody>
      <dsp:txXfrm rot="-5400000">
        <a:off x="1896236" y="2286723"/>
        <a:ext cx="3343954" cy="501582"/>
      </dsp:txXfrm>
    </dsp:sp>
    <dsp:sp modelId="{BE08E7CE-2670-41F2-836F-3E5FFB459492}">
      <dsp:nvSpPr>
        <dsp:cNvPr id="0" name=""/>
        <dsp:cNvSpPr/>
      </dsp:nvSpPr>
      <dsp:spPr>
        <a:xfrm>
          <a:off x="0" y="2190107"/>
          <a:ext cx="1896237" cy="694813"/>
        </a:xfrm>
        <a:prstGeom prst="roundRect">
          <a:avLst/>
        </a:prstGeom>
        <a:solidFill>
          <a:srgbClr val="9D1E27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/>
            <a:t>Model drift/compliance</a:t>
          </a:r>
          <a:endParaRPr lang="en-US" sz="1200" kern="1200"/>
        </a:p>
      </dsp:txBody>
      <dsp:txXfrm>
        <a:off x="33918" y="2224025"/>
        <a:ext cx="1828401" cy="62697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291087-2E7F-4F92-9AC7-B8111F35EEF9}">
      <dsp:nvSpPr>
        <dsp:cNvPr id="0" name=""/>
        <dsp:cNvSpPr/>
      </dsp:nvSpPr>
      <dsp:spPr>
        <a:xfrm>
          <a:off x="2389" y="726056"/>
          <a:ext cx="1437060" cy="1724473"/>
        </a:xfrm>
        <a:prstGeom prst="roundRect">
          <a:avLst>
            <a:gd name="adj" fmla="val 5000"/>
          </a:avLst>
        </a:prstGeom>
        <a:noFill/>
        <a:ln w="19050" cap="flat" cmpd="sng" algn="ctr">
          <a:solidFill>
            <a:srgbClr val="9D1E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1148" rIns="53340" bIns="0" numCol="1" spcCol="1270" anchor="t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>
              <a:solidFill>
                <a:srgbClr val="9D1E27"/>
              </a:solidFill>
            </a:rPr>
            <a:t>Phase 0 (8–10 </a:t>
          </a:r>
          <a:r>
            <a:rPr lang="en-US" sz="1200" b="1" kern="1200" err="1">
              <a:solidFill>
                <a:srgbClr val="9D1E27"/>
              </a:solidFill>
            </a:rPr>
            <a:t>wks</a:t>
          </a:r>
          <a:r>
            <a:rPr lang="en-US" sz="1200" b="1" kern="1200">
              <a:solidFill>
                <a:srgbClr val="9D1E27"/>
              </a:solidFill>
            </a:rPr>
            <a:t>)</a:t>
          </a:r>
          <a:endParaRPr lang="en-IN" sz="1200" kern="1200">
            <a:solidFill>
              <a:srgbClr val="9D1E27"/>
            </a:solidFill>
          </a:endParaRPr>
        </a:p>
      </dsp:txBody>
      <dsp:txXfrm rot="16200000">
        <a:off x="-560938" y="1289384"/>
        <a:ext cx="1414067" cy="287412"/>
      </dsp:txXfrm>
    </dsp:sp>
    <dsp:sp modelId="{145764AB-0D42-4F49-AACD-48C599BEDFC3}">
      <dsp:nvSpPr>
        <dsp:cNvPr id="0" name=""/>
        <dsp:cNvSpPr/>
      </dsp:nvSpPr>
      <dsp:spPr>
        <a:xfrm>
          <a:off x="289801" y="726056"/>
          <a:ext cx="1070610" cy="1724473"/>
        </a:xfrm>
        <a:prstGeom prst="rect">
          <a:avLst/>
        </a:prstGeom>
        <a:noFill/>
        <a:ln w="1905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7719" rIns="0" bIns="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chemeClr val="tx1"/>
              </a:solidFill>
            </a:rPr>
            <a:t>Data pipes, RBAC, POC on </a:t>
          </a:r>
          <a:r>
            <a:rPr lang="en-US" sz="1100" b="1" kern="1200">
              <a:solidFill>
                <a:schemeClr val="tx1"/>
              </a:solidFill>
            </a:rPr>
            <a:t>transactions + cards</a:t>
          </a:r>
          <a:endParaRPr lang="en-IN" sz="1100" kern="1200">
            <a:solidFill>
              <a:schemeClr val="tx1"/>
            </a:solidFill>
          </a:endParaRP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100" kern="1200">
            <a:solidFill>
              <a:schemeClr val="tx1"/>
            </a:solidFill>
          </a:endParaRP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chemeClr val="tx1"/>
              </a:solidFill>
            </a:rPr>
            <a:t> Hindi/English voice.</a:t>
          </a:r>
          <a:endParaRPr lang="en-IN" sz="1100" kern="1200">
            <a:solidFill>
              <a:schemeClr val="tx1"/>
            </a:solidFill>
          </a:endParaRPr>
        </a:p>
      </dsp:txBody>
      <dsp:txXfrm>
        <a:off x="289801" y="726056"/>
        <a:ext cx="1070610" cy="1724473"/>
      </dsp:txXfrm>
    </dsp:sp>
    <dsp:sp modelId="{645BE98D-904B-49B5-90B3-8DA6363D6232}">
      <dsp:nvSpPr>
        <dsp:cNvPr id="0" name=""/>
        <dsp:cNvSpPr/>
      </dsp:nvSpPr>
      <dsp:spPr>
        <a:xfrm>
          <a:off x="1489747" y="726056"/>
          <a:ext cx="1437060" cy="1724473"/>
        </a:xfrm>
        <a:prstGeom prst="roundRect">
          <a:avLst>
            <a:gd name="adj" fmla="val 5000"/>
          </a:avLst>
        </a:prstGeom>
        <a:noFill/>
        <a:ln w="19050" cap="flat" cmpd="sng" algn="ctr">
          <a:solidFill>
            <a:srgbClr val="9D1E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1148" rIns="53340" bIns="0" numCol="1" spcCol="1270" anchor="t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>
              <a:solidFill>
                <a:srgbClr val="9D1E27"/>
              </a:solidFill>
            </a:rPr>
            <a:t>Phase 1 (3–6 </a:t>
          </a:r>
          <a:r>
            <a:rPr lang="en-US" sz="1200" b="1" kern="1200" err="1">
              <a:solidFill>
                <a:srgbClr val="9D1E27"/>
              </a:solidFill>
            </a:rPr>
            <a:t>mo</a:t>
          </a:r>
          <a:r>
            <a:rPr lang="en-US" sz="1200" b="1" kern="1200">
              <a:solidFill>
                <a:srgbClr val="9D1E27"/>
              </a:solidFill>
            </a:rPr>
            <a:t>)</a:t>
          </a:r>
          <a:endParaRPr lang="en-US" sz="1200" kern="1200">
            <a:solidFill>
              <a:srgbClr val="9D1E27"/>
            </a:solidFill>
          </a:endParaRPr>
        </a:p>
      </dsp:txBody>
      <dsp:txXfrm rot="16200000">
        <a:off x="926419" y="1289384"/>
        <a:ext cx="1414067" cy="287412"/>
      </dsp:txXfrm>
    </dsp:sp>
    <dsp:sp modelId="{C5D64123-6DFB-4667-86D3-2E7B21765CC4}">
      <dsp:nvSpPr>
        <dsp:cNvPr id="0" name=""/>
        <dsp:cNvSpPr/>
      </dsp:nvSpPr>
      <dsp:spPr>
        <a:xfrm rot="5400000">
          <a:off x="1370146" y="2097442"/>
          <a:ext cx="253571" cy="215559"/>
        </a:xfrm>
        <a:prstGeom prst="flowChartExtract">
          <a:avLst/>
        </a:prstGeom>
        <a:solidFill>
          <a:srgbClr val="9D1E27"/>
        </a:solidFill>
        <a:ln w="19050" cap="flat" cmpd="sng" algn="ctr">
          <a:solidFill>
            <a:srgbClr val="9D1E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CBD545-5EFC-40E2-A5B9-A1F51B2B7741}">
      <dsp:nvSpPr>
        <dsp:cNvPr id="0" name=""/>
        <dsp:cNvSpPr/>
      </dsp:nvSpPr>
      <dsp:spPr>
        <a:xfrm>
          <a:off x="1777159" y="726056"/>
          <a:ext cx="1070610" cy="1724473"/>
        </a:xfrm>
        <a:prstGeom prst="rect">
          <a:avLst/>
        </a:prstGeom>
        <a:noFill/>
        <a:ln w="1905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7719" rIns="0" bIns="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chemeClr val="tx1"/>
              </a:solidFill>
            </a:rPr>
            <a:t>Pilot to 1–5% users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>
            <a:solidFill>
              <a:schemeClr val="tx1"/>
            </a:solidFill>
          </a:endParaRP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chemeClr val="tx1"/>
              </a:solidFill>
            </a:rPr>
            <a:t>Hit </a:t>
          </a:r>
          <a:r>
            <a:rPr lang="en-US" sz="1100" b="1" kern="1200">
              <a:solidFill>
                <a:schemeClr val="tx1"/>
              </a:solidFill>
            </a:rPr>
            <a:t>P50 ≤2s</a:t>
          </a:r>
          <a:r>
            <a:rPr lang="en-US" sz="1100" kern="1200">
              <a:solidFill>
                <a:schemeClr val="tx1"/>
              </a:solidFill>
            </a:rPr>
            <a:t> and </a:t>
          </a:r>
          <a:r>
            <a:rPr lang="en-US" sz="1100" b="1" kern="1200">
              <a:solidFill>
                <a:schemeClr val="tx1"/>
              </a:solidFill>
            </a:rPr>
            <a:t>≥95% grounded answers</a:t>
          </a:r>
          <a:r>
            <a:rPr lang="en-US" sz="1100" kern="1200">
              <a:solidFill>
                <a:schemeClr val="tx1"/>
              </a:solidFill>
            </a:rPr>
            <a:t>.</a:t>
          </a:r>
        </a:p>
      </dsp:txBody>
      <dsp:txXfrm>
        <a:off x="1777159" y="726056"/>
        <a:ext cx="1070610" cy="1724473"/>
      </dsp:txXfrm>
    </dsp:sp>
    <dsp:sp modelId="{2EF86992-4D44-4FD8-B946-64187CA3ECB7}">
      <dsp:nvSpPr>
        <dsp:cNvPr id="0" name=""/>
        <dsp:cNvSpPr/>
      </dsp:nvSpPr>
      <dsp:spPr>
        <a:xfrm>
          <a:off x="2977105" y="726056"/>
          <a:ext cx="1437060" cy="1724473"/>
        </a:xfrm>
        <a:prstGeom prst="roundRect">
          <a:avLst>
            <a:gd name="adj" fmla="val 5000"/>
          </a:avLst>
        </a:prstGeom>
        <a:noFill/>
        <a:ln w="19050" cap="flat" cmpd="sng" algn="ctr">
          <a:solidFill>
            <a:srgbClr val="9D1E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1148" rIns="53340" bIns="0" numCol="1" spcCol="1270" anchor="t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>
              <a:solidFill>
                <a:srgbClr val="9D1E27"/>
              </a:solidFill>
            </a:rPr>
            <a:t>Phase 2 (6–12 </a:t>
          </a:r>
          <a:r>
            <a:rPr lang="en-US" sz="1200" b="1" kern="1200" err="1">
              <a:solidFill>
                <a:srgbClr val="9D1E27"/>
              </a:solidFill>
            </a:rPr>
            <a:t>mo</a:t>
          </a:r>
          <a:r>
            <a:rPr lang="en-US" sz="1200" b="1" kern="1200">
              <a:solidFill>
                <a:srgbClr val="9D1E27"/>
              </a:solidFill>
            </a:rPr>
            <a:t>)</a:t>
          </a:r>
          <a:endParaRPr lang="en-US" sz="1200" kern="1200">
            <a:solidFill>
              <a:srgbClr val="9D1E27"/>
            </a:solidFill>
          </a:endParaRPr>
        </a:p>
      </dsp:txBody>
      <dsp:txXfrm rot="16200000">
        <a:off x="2413777" y="1289384"/>
        <a:ext cx="1414067" cy="287412"/>
      </dsp:txXfrm>
    </dsp:sp>
    <dsp:sp modelId="{05C4FF49-E7BF-4363-BC25-B9BF7B00484F}">
      <dsp:nvSpPr>
        <dsp:cNvPr id="0" name=""/>
        <dsp:cNvSpPr/>
      </dsp:nvSpPr>
      <dsp:spPr>
        <a:xfrm rot="5400000">
          <a:off x="2857504" y="2097442"/>
          <a:ext cx="253571" cy="215559"/>
        </a:xfrm>
        <a:prstGeom prst="flowChartExtract">
          <a:avLst/>
        </a:prstGeom>
        <a:solidFill>
          <a:srgbClr val="9D1E27"/>
        </a:solidFill>
        <a:ln w="19050" cap="flat" cmpd="sng" algn="ctr">
          <a:solidFill>
            <a:srgbClr val="9D1E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9380AD-036E-4396-B9A4-2D7502EBAA77}">
      <dsp:nvSpPr>
        <dsp:cNvPr id="0" name=""/>
        <dsp:cNvSpPr/>
      </dsp:nvSpPr>
      <dsp:spPr>
        <a:xfrm>
          <a:off x="3264517" y="726056"/>
          <a:ext cx="1070610" cy="1724473"/>
        </a:xfrm>
        <a:prstGeom prst="rect">
          <a:avLst/>
        </a:prstGeom>
        <a:noFill/>
        <a:ln w="1905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7719" rIns="0" bIns="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chemeClr val="tx1"/>
              </a:solidFill>
            </a:rPr>
            <a:t>All domains (loans/wealth/beneficiaries), multi-AZ HA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>
            <a:solidFill>
              <a:schemeClr val="tx1"/>
            </a:solidFill>
          </a:endParaRP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>
              <a:solidFill>
                <a:schemeClr val="tx1"/>
              </a:solidFill>
            </a:rPr>
            <a:t>1–2k TPS</a:t>
          </a:r>
          <a:r>
            <a:rPr lang="en-US" sz="1100" kern="1200">
              <a:solidFill>
                <a:schemeClr val="tx1"/>
              </a:solidFill>
            </a:rPr>
            <a:t> steady state.</a:t>
          </a:r>
        </a:p>
      </dsp:txBody>
      <dsp:txXfrm>
        <a:off x="3264517" y="726056"/>
        <a:ext cx="1070610" cy="1724473"/>
      </dsp:txXfrm>
    </dsp:sp>
    <dsp:sp modelId="{19A944B9-398F-4CD6-8394-794391771E0A}">
      <dsp:nvSpPr>
        <dsp:cNvPr id="0" name=""/>
        <dsp:cNvSpPr/>
      </dsp:nvSpPr>
      <dsp:spPr>
        <a:xfrm>
          <a:off x="4464463" y="726056"/>
          <a:ext cx="1437060" cy="1724473"/>
        </a:xfrm>
        <a:prstGeom prst="roundRect">
          <a:avLst>
            <a:gd name="adj" fmla="val 5000"/>
          </a:avLst>
        </a:prstGeom>
        <a:noFill/>
        <a:ln w="19050" cap="flat" cmpd="sng" algn="ctr">
          <a:solidFill>
            <a:srgbClr val="9D1E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7719" rIns="48895" bIns="0" numCol="1" spcCol="1270" anchor="t" anchorCtr="0">
          <a:noAutofit/>
        </a:bodyPr>
        <a:lstStyle/>
        <a:p>
          <a:pPr marL="0" lvl="0" indent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>
              <a:solidFill>
                <a:srgbClr val="9D1E27"/>
              </a:solidFill>
            </a:rPr>
            <a:t>Business KPIs</a:t>
          </a:r>
          <a:endParaRPr lang="en-US" sz="1100" kern="1200">
            <a:solidFill>
              <a:srgbClr val="9D1E27"/>
            </a:solidFill>
          </a:endParaRPr>
        </a:p>
      </dsp:txBody>
      <dsp:txXfrm rot="16200000">
        <a:off x="3901135" y="1289384"/>
        <a:ext cx="1414067" cy="287412"/>
      </dsp:txXfrm>
    </dsp:sp>
    <dsp:sp modelId="{4C7247B7-AF92-4A53-BE1D-7DCD1ACB8E6C}">
      <dsp:nvSpPr>
        <dsp:cNvPr id="0" name=""/>
        <dsp:cNvSpPr/>
      </dsp:nvSpPr>
      <dsp:spPr>
        <a:xfrm rot="5400000">
          <a:off x="4344862" y="2097442"/>
          <a:ext cx="253571" cy="215559"/>
        </a:xfrm>
        <a:prstGeom prst="flowChartExtract">
          <a:avLst/>
        </a:prstGeom>
        <a:solidFill>
          <a:srgbClr val="9D1E27"/>
        </a:solidFill>
        <a:ln w="19050" cap="flat" cmpd="sng" algn="ctr">
          <a:solidFill>
            <a:srgbClr val="9D1E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B5425B-2CCD-4A56-BDDB-D05522A36292}">
      <dsp:nvSpPr>
        <dsp:cNvPr id="0" name=""/>
        <dsp:cNvSpPr/>
      </dsp:nvSpPr>
      <dsp:spPr>
        <a:xfrm>
          <a:off x="4751875" y="726056"/>
          <a:ext cx="1070610" cy="1724473"/>
        </a:xfrm>
        <a:prstGeom prst="rect">
          <a:avLst/>
        </a:prstGeom>
        <a:noFill/>
        <a:ln w="1905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7719" rIns="0" bIns="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chemeClr val="tx1"/>
              </a:solidFill>
            </a:rPr>
            <a:t>Call deflection </a:t>
          </a:r>
          <a:r>
            <a:rPr lang="en-US" sz="1100" b="1" kern="1200">
              <a:solidFill>
                <a:schemeClr val="tx1"/>
              </a:solidFill>
            </a:rPr>
            <a:t>10–20%</a:t>
          </a:r>
          <a:r>
            <a:rPr lang="en-US" sz="1100" kern="1200">
              <a:solidFill>
                <a:schemeClr val="tx1"/>
              </a:solidFill>
            </a:rPr>
            <a:t>, task completion ↑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chemeClr val="tx1"/>
              </a:solidFill>
            </a:rPr>
            <a:t> 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chemeClr val="tx1"/>
              </a:solidFill>
            </a:rPr>
            <a:t>CSAT/NPS ↑, rewards redemption/attach-rate ↑.</a:t>
          </a:r>
        </a:p>
      </dsp:txBody>
      <dsp:txXfrm>
        <a:off x="4751875" y="726056"/>
        <a:ext cx="1070610" cy="172447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7">
  <dgm:title val=""/>
  <dgm:desc val=""/>
  <dgm:catLst>
    <dgm:cat type="process" pri="21000"/>
    <dgm:cat type="lis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ch" forName="hSp" refType="w" refFor="ch" refForName="compositeNode" fact="-0.035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-0.08"/>
      <dgm:constr type="primFontSz" for="des" forName="parentNode" op="equ"/>
      <dgm:constr type="primFontSz" for="des" forName="childNode" op="equ"/>
    </dgm:constrLst>
    <dgm:ruleLst/>
    <dgm:forEach name="Name4" axis="ch" ptType="node">
      <dgm:layoutNode name="compositeNode">
        <dgm:varLst>
          <dgm:bulletEnabled val="1"/>
        </dgm:varLst>
        <dgm:alg type="composite"/>
        <dgm:choose name="Name5">
          <dgm:if name="Name6" func="var" arg="dir" op="equ" val="norm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l" for="ch" forName="bgRect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l" for="ch" forName="parentNode"/>
              <dgm:constr type="r" for="ch" forName="childNode" refType="r" refFor="ch" refForName="bgRect" fact="0.945"/>
              <dgm:constr type="h" for="ch" forName="childNode" refType="h" refFor="ch" refForName="bgRect" op="equ"/>
              <dgm:constr type="t" for="ch" forName="childNode"/>
              <dgm:constr type="l" for="ch" forName="childNode" refType="r" refFor="ch" refForName="parentNode"/>
            </dgm:constrLst>
          </dgm:if>
          <dgm:else name="Name7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r" for="ch" forName="bgRect" refType="w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r" for="ch" forName="parentNode" refType="w"/>
              <dgm:constr type="h" for="ch" forName="childNode" refType="h" refFor="ch" refForName="bgRect"/>
              <dgm:constr type="t" for="ch" forName="childNode"/>
              <dgm:constr type="r" for="ch" forName="childNode" refType="l" refFor="ch" refForName="parentNode"/>
              <dgm:constr type="l" for="ch" forName="childNode" refType="w" refFor="ch" refForName="bgRect" fact="0.055"/>
            </dgm:constrLst>
          </dgm:else>
        </dgm:choose>
        <dgm:ruleLst>
          <dgm:rule type="w" for="ch" forName="childNode" val="NaN" fact="NaN" max="30"/>
        </dgm:ruleLst>
        <dgm:layoutNode name="bgRect" styleLbl="node1">
          <dgm:alg type="sp"/>
          <dgm:shape xmlns:r="http://schemas.openxmlformats.org/officeDocument/2006/relationships" type="roundRect" r:blip="" zOrderOff="-1">
            <dgm:adjLst>
              <dgm:adj idx="1" val="0.05"/>
            </dgm:adjLst>
          </dgm:shape>
          <dgm:presOf axis="self"/>
          <dgm:constrLst/>
          <dgm:ruleLst/>
        </dgm:layoutNode>
        <dgm:layoutNode name="parentNode" styleLbl="node1">
          <dgm:varLst>
            <dgm:chMax val="0"/>
            <dgm:bulletEnabled val="1"/>
          </dgm:varLst>
          <dgm:presOf axis="self"/>
          <dgm:choose name="Name8">
            <dgm:if name="Name9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 hideGeom="1">
                <dgm:adjLst/>
              </dgm:shape>
              <dgm:constrLst>
                <dgm:constr type="primFontSz" val="65"/>
                <dgm:constr type="lMarg"/>
                <dgm:constr type="rMarg" refType="primFontSz" fact="0.35"/>
                <dgm:constr type="tMarg" refType="primFontSz" fact="0.27"/>
                <dgm:constr type="bMarg"/>
              </dgm:constrLst>
            </dgm:if>
            <dgm:else name="Name10">
              <dgm:alg type="tx">
                <dgm:param type="autoTxRot" val="grav"/>
                <dgm:param type="txAnchorVert" val="t"/>
                <dgm:param type="parTxLTRAlign" val="l"/>
                <dgm:param type="parTxRTLAlign" val="l"/>
              </dgm:alg>
              <dgm:shape xmlns:r="http://schemas.openxmlformats.org/officeDocument/2006/relationships" rot="90" type="rect" r:blip="" hideGeom="1">
                <dgm:adjLst/>
              </dgm:shape>
              <dgm:constrLst>
                <dgm:constr type="primFontSz" val="65"/>
                <dgm:constr type="lMarg" refType="primFontSz" fact="0.35"/>
                <dgm:constr type="rMarg"/>
                <dgm:constr type="tMarg" refType="primFontSz" fact="0.27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choose name="Name11">
          <dgm:if name="Name12" axis="ch" ptType="node" func="cnt" op="gte" val="1">
            <dgm:layoutNode name="childNode" styleLbl="node1" moveWith="bgRect">
              <dgm:varLst>
                <dgm:bulletEnabled val="1"/>
              </dgm:varLst>
              <dgm:alg type="tx">
                <dgm:param type="parTxLTRAlign" val="l"/>
                <dgm:param type="parTxRTLAlign" val="r"/>
                <dgm:param type="txAnchorVert" val="t"/>
              </dgm:alg>
              <dgm:shape xmlns:r="http://schemas.openxmlformats.org/officeDocument/2006/relationships" type="rect" r:blip="" hideGeom="1">
                <dgm:adjLst/>
              </dgm:shape>
              <dgm:presOf axis="des" ptType="node"/>
              <dgm:constrLst>
                <dgm:constr type="primFontSz" val="65"/>
                <dgm:constr type="lMarg"/>
                <dgm:constr type="bMarg"/>
                <dgm:constr type="tMarg" refType="primFontSz" fact="0.27"/>
                <dgm:constr type="rMarg"/>
              </dgm:constrLst>
              <dgm:ruleLst>
                <dgm:rule type="prim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h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vProcSp" moveWith="bgRec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vSp1" refType="w"/>
            <dgm:constr type="w" for="ch" forName="simulatedConn" refType="w"/>
            <dgm:constr type="w" for="ch" forName="vSp2" refType="w"/>
          </dgm:constrLst>
          <dgm:ruleLst/>
          <dgm:layoutNode name="vSp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imulatedConn" styleLbl="solidFgAcc1">
            <dgm:alg type="sp"/>
            <dgm:choose name="Name15">
              <dgm:if name="Name16" func="var" arg="dir" op="equ" val="norm">
                <dgm:shape xmlns:r="http://schemas.openxmlformats.org/officeDocument/2006/relationships" rot="90" type="flowChartExtract" r:blip="">
                  <dgm:adjLst/>
                </dgm:shape>
              </dgm:if>
              <dgm:else name="Name17">
                <dgm:shape xmlns:r="http://schemas.openxmlformats.org/officeDocument/2006/relationships" rot="-90" type="flowChartExtract" r:blip="">
                  <dgm:adjLst/>
                </dgm:shape>
              </dgm:else>
            </dgm:choose>
            <dgm:presOf/>
            <dgm:constrLst/>
            <dgm:ruleLst/>
          </dgm:layoutNode>
          <dgm:layoutNode name="vSp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E51C49-CD26-44F1-B572-658B2364CEA2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3C483E-589C-460E-888E-C53FA11BB1E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025529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FCDF3C-A54E-C423-AA02-6556F705C1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44C2F6-1B10-AA7C-143B-8B83A79E3D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8FB363-5244-DEDE-FD01-06BF05B01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32C2A-6CE9-4B97-A923-0F9CFE2D56D6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F51F30-84AC-7C25-4ABB-47159EBE1D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A754E-E03D-03BE-1CC7-6B251F95D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46A19-81C2-41B2-B01C-0885355DF5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667780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003B8A-5B6F-E053-482C-DB34EE073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801919-5E0E-6F3C-1AE1-91C60AA112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669AF9-C79B-B613-7414-42E531871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32C2A-6CE9-4B97-A923-0F9CFE2D56D6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C5C063-0F7D-9920-D0BC-7CD6E78E68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046BED-67A0-64CE-174D-9D22FC182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46A19-81C2-41B2-B01C-0885355DF5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70199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6DFA606-321E-83FB-845E-B24645B5D13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606AE3-C97F-88A6-09DC-8D7E31C1DA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6F0BB4-A436-046A-0F71-6F779B578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32C2A-6CE9-4B97-A923-0F9CFE2D56D6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167492-F42E-C5B0-EF3D-C053CABC35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5E6537-20D4-983A-32E1-AE964B81BE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46A19-81C2-41B2-B01C-0885355DF5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30773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06FC-8459-2C6B-8A96-4AB19B44D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76979-03B8-4A6A-23CB-E79CE9CEF6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6EB290-F8CD-1B6F-D34A-6E36E7B48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32C2A-6CE9-4B97-A923-0F9CFE2D56D6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9758C9-A491-25F3-1922-12A7B6BE8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421916-1D6A-CB55-4C99-EB7EC64C7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46A19-81C2-41B2-B01C-0885355DF5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8194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6910BD-099C-996B-B2A4-9785EF63BF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A2BE87-F58F-CF96-81DB-E6CB6DCDAF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555333-06AB-A6E6-DEC3-5CA262CD85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32C2A-6CE9-4B97-A923-0F9CFE2D56D6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66924-74E9-7F54-2EA8-6C4BABBAC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05095E-CE6D-31DE-BA92-726EFDDB7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46A19-81C2-41B2-B01C-0885355DF5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337487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ADF703-A00A-F915-2551-A49D05062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06AD66-8235-08D0-000D-86C7CFE9E91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12BBE11-592D-CF5C-95F7-935063D0EE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0F216F-3A87-A703-02C4-F08CA987D7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32C2A-6CE9-4B97-A923-0F9CFE2D56D6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599EC6-953C-B4F6-5695-5081D32518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0F966C-23F2-3D19-18B8-66459188E2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46A19-81C2-41B2-B01C-0885355DF5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710650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C67CA9-C0C1-B7FC-E8BF-DD114AF52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D810A4-43CC-828E-5A81-F3A81E7215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E2F115-F8A4-221F-1C21-5829669649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159359-A497-37B6-3DE1-BD1837C4C9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6E34FF6-1326-7EC0-EF11-BAE08914DB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2FDE553-1EAB-B153-13DC-C4AFB64226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32C2A-6CE9-4B97-A923-0F9CFE2D56D6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780835-B548-AA7F-50FB-47CA56D91A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B679A1-AAD2-9976-9FE0-AD03D7481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46A19-81C2-41B2-B01C-0885355DF5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546122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97EF0D-FCCE-9818-5E64-0944750D3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C2D402-2537-F28A-19CB-67710CD379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32C2A-6CE9-4B97-A923-0F9CFE2D56D6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59D7EA-2622-90DB-9945-16F48D6413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F698E5-1DA4-E957-DA9D-4598066BB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46A19-81C2-41B2-B01C-0885355DF5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58605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29B42B-F0E3-72F5-F753-005986F978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32C2A-6CE9-4B97-A923-0F9CFE2D56D6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A58CBE-FDD2-ED93-73E6-9370CB29FD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34835E-A3A1-4BB3-D668-74DB75CBF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46A19-81C2-41B2-B01C-0885355DF5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19141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C516C-CD1D-601A-EBC2-BEF23B0C01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F99F91-648C-0C46-EA30-3FF3D719DA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BCBACD-C28B-06DD-80DA-AF7B3E80D93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F1B474-9A1D-C9F6-BE11-BD78AD7E2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32C2A-6CE9-4B97-A923-0F9CFE2D56D6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65BAF4-5C74-BCCD-F4BB-AB5EE803C8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B57B26-4DE0-75D5-5AC2-981A9FCCF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46A19-81C2-41B2-B01C-0885355DF5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114809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5D239E-84B1-95F0-6EE7-068847072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C3AE62F-3123-A05B-09BC-330FCCD4B03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BE7268-A0C8-6912-88A3-5D7603962F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353A6F-8E12-955D-1817-08642BCA54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32C2A-6CE9-4B97-A923-0F9CFE2D56D6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3E22FC-46EC-657F-C730-78AF41A918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DCCF14-2CCF-FF79-1089-CA41EE70BB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46A19-81C2-41B2-B01C-0885355DF5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633659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1084292-7C59-2533-87FE-9BF85662E1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51669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084292-7C59-2533-87FE-9BF85662E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8F3738-1E1D-C33A-4B5F-346844A2C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9F1F7E-D335-5E39-6E8A-5FBDC29012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104BEB-DE0F-7E30-7E21-84BE3CEB71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7532C2A-6CE9-4B97-A923-0F9CFE2D56D6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9D74FE-921E-94DD-CB37-57C384BB15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421428-9674-1726-193F-3FAEF29C55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D746A19-81C2-41B2-B01C-0885355DF5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48122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 userDrawn="1">
          <p15:clr>
            <a:srgbClr val="F26B43"/>
          </p15:clr>
        </p15:guide>
        <p15:guide id="2" pos="121" userDrawn="1">
          <p15:clr>
            <a:srgbClr val="F26B43"/>
          </p15:clr>
        </p15:guide>
        <p15:guide id="3" pos="75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2.bin"/><Relationship Id="rId7" Type="http://schemas.openxmlformats.org/officeDocument/2006/relationships/hyperlink" Target="https://logowik.com/idfc-first-bank-logo-vector-svg-pdf-ai-eps-cdr-free-download-14941.html" TargetMode="Externa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3.jpeg"/><Relationship Id="rId11" Type="http://schemas.openxmlformats.org/officeDocument/2006/relationships/image" Target="../media/image7.png"/><Relationship Id="rId5" Type="http://schemas.openxmlformats.org/officeDocument/2006/relationships/image" Target="../media/image2.jpeg"/><Relationship Id="rId10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2.jpeg"/><Relationship Id="rId18" Type="http://schemas.openxmlformats.org/officeDocument/2006/relationships/image" Target="../media/image16.png"/><Relationship Id="rId3" Type="http://schemas.openxmlformats.org/officeDocument/2006/relationships/oleObject" Target="../embeddings/oleObject3.bin"/><Relationship Id="rId21" Type="http://schemas.openxmlformats.org/officeDocument/2006/relationships/image" Target="../media/image19.png"/><Relationship Id="rId7" Type="http://schemas.openxmlformats.org/officeDocument/2006/relationships/hyperlink" Target="https://www.forrester.com/blogs/digital-experience-strategy-for-banks/#:~:text=,68%2C%20not%20just%20product%20sales" TargetMode="External"/><Relationship Id="rId12" Type="http://schemas.openxmlformats.org/officeDocument/2006/relationships/image" Target="../media/image11.png"/><Relationship Id="rId17" Type="http://schemas.openxmlformats.org/officeDocument/2006/relationships/hyperlink" Target="https://www.forrester.com/blogs/digital-experience-strategy-for-banks" TargetMode="External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5.png"/><Relationship Id="rId20" Type="http://schemas.openxmlformats.org/officeDocument/2006/relationships/image" Target="../media/image18.png"/><Relationship Id="rId1" Type="http://schemas.openxmlformats.org/officeDocument/2006/relationships/tags" Target="../tags/tag3.xml"/><Relationship Id="rId6" Type="http://schemas.openxmlformats.org/officeDocument/2006/relationships/hyperlink" Target="https://logowik.com/idfc-first-bank-logo-vector-svg-pdf-ai-eps-cdr-free-download-14941.html" TargetMode="External"/><Relationship Id="rId11" Type="http://schemas.openxmlformats.org/officeDocument/2006/relationships/hyperlink" Target="https://apps.apple.com/vn/app/idfc-first-bank-mobilebanking/id1521443352" TargetMode="External"/><Relationship Id="rId5" Type="http://schemas.openxmlformats.org/officeDocument/2006/relationships/image" Target="../media/image3.jpeg"/><Relationship Id="rId15" Type="http://schemas.openxmlformats.org/officeDocument/2006/relationships/image" Target="../media/image14.png"/><Relationship Id="rId10" Type="http://schemas.openxmlformats.org/officeDocument/2006/relationships/image" Target="../media/image10.png"/><Relationship Id="rId19" Type="http://schemas.openxmlformats.org/officeDocument/2006/relationships/image" Target="../media/image17.png"/><Relationship Id="rId4" Type="http://schemas.openxmlformats.org/officeDocument/2006/relationships/image" Target="../media/image1.emf"/><Relationship Id="rId9" Type="http://schemas.openxmlformats.org/officeDocument/2006/relationships/image" Target="../media/image9.png"/><Relationship Id="rId14" Type="http://schemas.openxmlformats.org/officeDocument/2006/relationships/image" Target="../media/image13.png"/><Relationship Id="rId22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26" Type="http://schemas.openxmlformats.org/officeDocument/2006/relationships/image" Target="../media/image35.png"/><Relationship Id="rId39" Type="http://schemas.openxmlformats.org/officeDocument/2006/relationships/image" Target="../media/image48.svg"/><Relationship Id="rId21" Type="http://schemas.openxmlformats.org/officeDocument/2006/relationships/image" Target="../media/image32.png"/><Relationship Id="rId34" Type="http://schemas.openxmlformats.org/officeDocument/2006/relationships/image" Target="../media/image43.png"/><Relationship Id="rId7" Type="http://schemas.openxmlformats.org/officeDocument/2006/relationships/hyperlink" Target="https://logowik.com/idfc-first-bank-logo-vector-svg-pdf-ai-eps-cdr-free-download-14941.html" TargetMode="External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5" Type="http://schemas.openxmlformats.org/officeDocument/2006/relationships/hyperlink" Target="https://apps.apple.com/vn/app/idfc-first-bank-mobilebanking/id1521443352" TargetMode="External"/><Relationship Id="rId33" Type="http://schemas.openxmlformats.org/officeDocument/2006/relationships/image" Target="../media/image42.svg"/><Relationship Id="rId38" Type="http://schemas.openxmlformats.org/officeDocument/2006/relationships/image" Target="../media/image47.png"/><Relationship Id="rId2" Type="http://schemas.openxmlformats.org/officeDocument/2006/relationships/video" Target="../media/media1.mp4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29" Type="http://schemas.openxmlformats.org/officeDocument/2006/relationships/image" Target="../media/image38.svg"/><Relationship Id="rId1" Type="http://schemas.microsoft.com/office/2007/relationships/media" Target="../media/media1.mp4"/><Relationship Id="rId6" Type="http://schemas.openxmlformats.org/officeDocument/2006/relationships/image" Target="../media/image3.jpeg"/><Relationship Id="rId11" Type="http://schemas.openxmlformats.org/officeDocument/2006/relationships/image" Target="../media/image22.svg"/><Relationship Id="rId24" Type="http://schemas.openxmlformats.org/officeDocument/2006/relationships/image" Target="../media/image10.png"/><Relationship Id="rId32" Type="http://schemas.openxmlformats.org/officeDocument/2006/relationships/image" Target="../media/image41.png"/><Relationship Id="rId37" Type="http://schemas.openxmlformats.org/officeDocument/2006/relationships/image" Target="../media/image46.svg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26.png"/><Relationship Id="rId23" Type="http://schemas.openxmlformats.org/officeDocument/2006/relationships/image" Target="../media/image34.png"/><Relationship Id="rId28" Type="http://schemas.openxmlformats.org/officeDocument/2006/relationships/image" Target="../media/image37.png"/><Relationship Id="rId36" Type="http://schemas.openxmlformats.org/officeDocument/2006/relationships/image" Target="../media/image45.png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31" Type="http://schemas.openxmlformats.org/officeDocument/2006/relationships/image" Target="../media/image40.svg"/><Relationship Id="rId4" Type="http://schemas.openxmlformats.org/officeDocument/2006/relationships/video" Target="../media/media2.mp4"/><Relationship Id="rId9" Type="http://schemas.openxmlformats.org/officeDocument/2006/relationships/slide" Target="slide5.xml"/><Relationship Id="rId14" Type="http://schemas.openxmlformats.org/officeDocument/2006/relationships/image" Target="../media/image25.svg"/><Relationship Id="rId22" Type="http://schemas.openxmlformats.org/officeDocument/2006/relationships/image" Target="../media/image33.png"/><Relationship Id="rId27" Type="http://schemas.openxmlformats.org/officeDocument/2006/relationships/image" Target="../media/image36.svg"/><Relationship Id="rId30" Type="http://schemas.openxmlformats.org/officeDocument/2006/relationships/image" Target="../media/image39.png"/><Relationship Id="rId35" Type="http://schemas.openxmlformats.org/officeDocument/2006/relationships/image" Target="../media/image44.svg"/><Relationship Id="rId8" Type="http://schemas.openxmlformats.org/officeDocument/2006/relationships/slide" Target="slide4.xml"/><Relationship Id="rId3" Type="http://schemas.microsoft.com/office/2007/relationships/media" Target="../media/media2.mp4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50.png"/><Relationship Id="rId7" Type="http://schemas.openxmlformats.org/officeDocument/2006/relationships/image" Target="../media/image31.png"/><Relationship Id="rId12" Type="http://schemas.openxmlformats.org/officeDocument/2006/relationships/hyperlink" Target="https://apps.apple.com/vn/app/idfc-first-bank-mobilebanking/id1521443352" TargetMode="External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11" Type="http://schemas.openxmlformats.org/officeDocument/2006/relationships/image" Target="../media/image10.png"/><Relationship Id="rId5" Type="http://schemas.openxmlformats.org/officeDocument/2006/relationships/image" Target="../media/image52.png"/><Relationship Id="rId10" Type="http://schemas.openxmlformats.org/officeDocument/2006/relationships/image" Target="../media/image34.png"/><Relationship Id="rId4" Type="http://schemas.openxmlformats.org/officeDocument/2006/relationships/image" Target="../media/image51.png"/><Relationship Id="rId9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logowik.com/idfc-first-bank-logo-vector-svg-pdf-ai-eps-cdr-free-download-14941.html" TargetMode="External"/><Relationship Id="rId7" Type="http://schemas.openxmlformats.org/officeDocument/2006/relationships/image" Target="../media/image56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18" Type="http://schemas.microsoft.com/office/2007/relationships/diagramDrawing" Target="../diagrams/drawing3.xml"/><Relationship Id="rId3" Type="http://schemas.openxmlformats.org/officeDocument/2006/relationships/hyperlink" Target="https://logowik.com/idfc-first-bank-logo-vector-svg-pdf-ai-eps-cdr-free-download-14941.html" TargetMode="External"/><Relationship Id="rId21" Type="http://schemas.openxmlformats.org/officeDocument/2006/relationships/diagramQuickStyle" Target="../diagrams/quickStyle4.xm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17" Type="http://schemas.openxmlformats.org/officeDocument/2006/relationships/diagramColors" Target="../diagrams/colors3.xml"/><Relationship Id="rId2" Type="http://schemas.openxmlformats.org/officeDocument/2006/relationships/image" Target="../media/image3.jpeg"/><Relationship Id="rId16" Type="http://schemas.openxmlformats.org/officeDocument/2006/relationships/diagramQuickStyle" Target="../diagrams/quickStyle3.xml"/><Relationship Id="rId20" Type="http://schemas.openxmlformats.org/officeDocument/2006/relationships/diagramLayout" Target="../diagrams/layout4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5" Type="http://schemas.openxmlformats.org/officeDocument/2006/relationships/diagramLayout" Target="../diagrams/layout3.xml"/><Relationship Id="rId23" Type="http://schemas.microsoft.com/office/2007/relationships/diagramDrawing" Target="../diagrams/drawing4.xml"/><Relationship Id="rId10" Type="http://schemas.openxmlformats.org/officeDocument/2006/relationships/diagramLayout" Target="../diagrams/layout2.xml"/><Relationship Id="rId19" Type="http://schemas.openxmlformats.org/officeDocument/2006/relationships/diagramData" Target="../diagrams/data4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Relationship Id="rId14" Type="http://schemas.openxmlformats.org/officeDocument/2006/relationships/diagramData" Target="../diagrams/data3.xml"/><Relationship Id="rId22" Type="http://schemas.openxmlformats.org/officeDocument/2006/relationships/diagramColors" Target="../diagrams/colors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A4006D-A9AD-E57E-4E36-1236681EB2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8C0E1EA9-6323-AA2E-658C-776C6B6203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77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0E1EA9-6323-AA2E-658C-776C6B6203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Business Banking - IDFC FIRST Bank | IDFC FIRST Bank">
            <a:extLst>
              <a:ext uri="{FF2B5EF4-FFF2-40B4-BE49-F238E27FC236}">
                <a16:creationId xmlns:a16="http://schemas.microsoft.com/office/drawing/2014/main" id="{901F93B8-BB8E-66D9-CFE0-1B4BC17830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218"/>
          <a:stretch>
            <a:fillRect/>
          </a:stretch>
        </p:blipFill>
        <p:spPr bwMode="auto">
          <a:xfrm>
            <a:off x="16978" y="1658731"/>
            <a:ext cx="12158044" cy="4807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Content Placeholder 4" descr="A red rectangular sign with white text&#10;&#10;AI-generated content may be incorrect.">
            <a:extLst>
              <a:ext uri="{FF2B5EF4-FFF2-40B4-BE49-F238E27FC236}">
                <a16:creationId xmlns:a16="http://schemas.microsoft.com/office/drawing/2014/main" id="{1ED3067B-70E7-E46F-539D-25446A4756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rcRect l="8612" t="30022" r="8263" b="29469"/>
          <a:stretch>
            <a:fillRect/>
          </a:stretch>
        </p:blipFill>
        <p:spPr>
          <a:xfrm>
            <a:off x="11157547" y="6490848"/>
            <a:ext cx="991635" cy="36428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8238A5C-3C9A-E732-353A-89473C554383}"/>
              </a:ext>
            </a:extLst>
          </p:cNvPr>
          <p:cNvSpPr txBox="1"/>
          <p:nvPr/>
        </p:nvSpPr>
        <p:spPr>
          <a:xfrm>
            <a:off x="146070" y="2596811"/>
            <a:ext cx="3605429" cy="369332"/>
          </a:xfrm>
          <a:prstGeom prst="rect">
            <a:avLst/>
          </a:prstGeom>
          <a:solidFill>
            <a:srgbClr val="9D1E27"/>
          </a:solidFill>
        </p:spPr>
        <p:txBody>
          <a:bodyPr wrap="square" lIns="91440" tIns="45720" rIns="91440" bIns="45720" rtlCol="0" anchor="ctr">
            <a:spAutoFit/>
          </a:bodyPr>
          <a:lstStyle/>
          <a:p>
            <a:r>
              <a:rPr lang="en-US" b="1">
                <a:solidFill>
                  <a:schemeClr val="bg1"/>
                </a:solidFill>
                <a:latin typeface="+mj-lt"/>
                <a:ea typeface="ADLaM Display"/>
                <a:cs typeface="ADLaM Display"/>
              </a:rPr>
              <a:t>Team: </a:t>
            </a:r>
            <a:r>
              <a:rPr lang="en-US" b="1" i="1">
                <a:solidFill>
                  <a:schemeClr val="bg1"/>
                </a:solidFill>
                <a:latin typeface="+mj-lt"/>
                <a:ea typeface="ADLaM Display"/>
                <a:cs typeface="ADLaM Display"/>
              </a:rPr>
              <a:t>The Ambassadors of Qua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CE8D8C9-8832-C78E-1F63-A3944099A3FF}"/>
              </a:ext>
            </a:extLst>
          </p:cNvPr>
          <p:cNvCxnSpPr>
            <a:cxnSpLocks/>
          </p:cNvCxnSpPr>
          <p:nvPr/>
        </p:nvCxnSpPr>
        <p:spPr>
          <a:xfrm>
            <a:off x="33956" y="6453227"/>
            <a:ext cx="12158044" cy="0"/>
          </a:xfrm>
          <a:prstGeom prst="line">
            <a:avLst/>
          </a:prstGeom>
          <a:ln>
            <a:solidFill>
              <a:srgbClr val="9D1E2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9E454FB7-5982-6C59-8C74-DBEAE7490B19}"/>
              </a:ext>
            </a:extLst>
          </p:cNvPr>
          <p:cNvSpPr txBox="1"/>
          <p:nvPr/>
        </p:nvSpPr>
        <p:spPr>
          <a:xfrm>
            <a:off x="0" y="-26115"/>
            <a:ext cx="12192000" cy="430887"/>
          </a:xfrm>
          <a:prstGeom prst="rect">
            <a:avLst/>
          </a:prstGeom>
          <a:solidFill>
            <a:srgbClr val="9D1E27"/>
          </a:solidFill>
        </p:spPr>
        <p:txBody>
          <a:bodyPr wrap="square" rtlCol="0" anchor="ctr">
            <a:spAutoFit/>
          </a:bodyPr>
          <a:lstStyle/>
          <a:p>
            <a:endParaRPr lang="en-US" sz="1100" b="1">
              <a:solidFill>
                <a:schemeClr val="bg1"/>
              </a:solidFill>
              <a:latin typeface="ADLaM Display" panose="02010000000000000000" pitchFamily="2" charset="77"/>
              <a:ea typeface="ADLaM Display" panose="02010000000000000000" pitchFamily="2" charset="77"/>
              <a:cs typeface="ADLaM Display" panose="02010000000000000000" pitchFamily="2" charset="77"/>
            </a:endParaRPr>
          </a:p>
          <a:p>
            <a:endParaRPr lang="en-US" sz="1100" b="1">
              <a:solidFill>
                <a:schemeClr val="bg1"/>
              </a:solidFill>
              <a:latin typeface="ADLaM Display" panose="02010000000000000000" pitchFamily="2" charset="77"/>
              <a:ea typeface="ADLaM Display" panose="02010000000000000000" pitchFamily="2" charset="77"/>
              <a:cs typeface="ADLaM Display" panose="02010000000000000000" pitchFamily="2" charset="77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B7E20A3-5453-771D-FA79-9A13B61589D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49921" y="429874"/>
            <a:ext cx="3721463" cy="1068198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4E17D85-6657-991F-859C-AD04B8A09D4F}"/>
              </a:ext>
            </a:extLst>
          </p:cNvPr>
          <p:cNvSpPr txBox="1"/>
          <p:nvPr/>
        </p:nvSpPr>
        <p:spPr>
          <a:xfrm>
            <a:off x="101137" y="499487"/>
            <a:ext cx="62778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500" b="1">
                <a:solidFill>
                  <a:srgbClr val="9D1E27"/>
                </a:solidFill>
              </a:rPr>
              <a:t>FAME 5.0: </a:t>
            </a:r>
          </a:p>
          <a:p>
            <a:r>
              <a:rPr lang="en-US" sz="3500" b="1">
                <a:solidFill>
                  <a:srgbClr val="9D1E27"/>
                </a:solidFill>
              </a:rPr>
              <a:t>Open Innovation Challenge</a:t>
            </a:r>
            <a:endParaRPr lang="en-IN" sz="3500">
              <a:solidFill>
                <a:srgbClr val="9D1E27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531C89-F18B-036A-664E-ABAEDB601839}"/>
              </a:ext>
            </a:extLst>
          </p:cNvPr>
          <p:cNvSpPr txBox="1"/>
          <p:nvPr/>
        </p:nvSpPr>
        <p:spPr>
          <a:xfrm>
            <a:off x="146070" y="1699816"/>
            <a:ext cx="12045930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 i="1"/>
              <a:t>Problem Statement 1 : </a:t>
            </a:r>
          </a:p>
          <a:p>
            <a:r>
              <a:rPr lang="en-US" sz="2400" b="1" i="1"/>
              <a:t>Repositioning the IDFC First mobile app from a generic tool to a premium experience</a:t>
            </a:r>
            <a:endParaRPr lang="en-IN" sz="2400" b="1" i="1"/>
          </a:p>
        </p:txBody>
      </p:sp>
      <p:pic>
        <p:nvPicPr>
          <p:cNvPr id="24" name="Picture 23" descr="A person in a suit and tie&#10;&#10;AI-generated content may be incorrect.">
            <a:extLst>
              <a:ext uri="{FF2B5EF4-FFF2-40B4-BE49-F238E27FC236}">
                <a16:creationId xmlns:a16="http://schemas.microsoft.com/office/drawing/2014/main" id="{75E6DBD6-CE0A-9E67-146D-CAA984EEAA1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7339" y="3071459"/>
            <a:ext cx="1667632" cy="222288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8965175A-0EE2-FF9E-3AB3-E7F50FBFA79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99430" y="3229374"/>
            <a:ext cx="1818376" cy="222800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990B2927-74F3-4039-7622-04C56F42CB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0" t="4118" r="-1130" b="11426"/>
          <a:stretch>
            <a:fillRect/>
          </a:stretch>
        </p:blipFill>
        <p:spPr bwMode="auto">
          <a:xfrm>
            <a:off x="6691428" y="3232182"/>
            <a:ext cx="1979117" cy="2228008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FF8D98EA-E9D5-7B1A-75F9-84C6D2B11B57}"/>
              </a:ext>
            </a:extLst>
          </p:cNvPr>
          <p:cNvSpPr/>
          <p:nvPr/>
        </p:nvSpPr>
        <p:spPr>
          <a:xfrm>
            <a:off x="1173954" y="5562910"/>
            <a:ext cx="1934402" cy="3156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Kartik Sharma</a:t>
            </a:r>
            <a:endParaRPr lang="en-IN" b="1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FF10233-32A7-6ED6-146B-143FDD4550B5}"/>
              </a:ext>
            </a:extLst>
          </p:cNvPr>
          <p:cNvSpPr/>
          <p:nvPr/>
        </p:nvSpPr>
        <p:spPr>
          <a:xfrm>
            <a:off x="4041417" y="5557919"/>
            <a:ext cx="1934402" cy="3156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Riya Arolkar</a:t>
            </a:r>
            <a:endParaRPr lang="en-IN" b="1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BDD1A7-A4F0-0202-5EA1-2030F3AF4BBE}"/>
              </a:ext>
            </a:extLst>
          </p:cNvPr>
          <p:cNvSpPr/>
          <p:nvPr/>
        </p:nvSpPr>
        <p:spPr>
          <a:xfrm>
            <a:off x="6713786" y="5562910"/>
            <a:ext cx="1934402" cy="3156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Vedang Poddar</a:t>
            </a:r>
            <a:endParaRPr lang="en-IN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5019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32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9BD74D4-97D0-B4B4-FAE2-C98440E448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5" name="think-cell data - do not delete" hidden="1">
            <a:extLst>
              <a:ext uri="{FF2B5EF4-FFF2-40B4-BE49-F238E27FC236}">
                <a16:creationId xmlns:a16="http://schemas.microsoft.com/office/drawing/2014/main" id="{49C486F1-7B67-9175-1BA4-68D1AB378C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06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C486F1-7B67-9175-1BA4-68D1AB378C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8" name="Rectangle 1117">
            <a:extLst>
              <a:ext uri="{FF2B5EF4-FFF2-40B4-BE49-F238E27FC236}">
                <a16:creationId xmlns:a16="http://schemas.microsoft.com/office/drawing/2014/main" id="{5BF0EE27-9877-B4DF-D038-5C9AAA0D86B7}"/>
              </a:ext>
            </a:extLst>
          </p:cNvPr>
          <p:cNvSpPr/>
          <p:nvPr/>
        </p:nvSpPr>
        <p:spPr>
          <a:xfrm>
            <a:off x="2411549" y="1615699"/>
            <a:ext cx="2319732" cy="83073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17" name="Rectangle 1116">
            <a:extLst>
              <a:ext uri="{FF2B5EF4-FFF2-40B4-BE49-F238E27FC236}">
                <a16:creationId xmlns:a16="http://schemas.microsoft.com/office/drawing/2014/main" id="{B044C352-A2D0-7A9A-0F63-CFB4890BE2FB}"/>
              </a:ext>
            </a:extLst>
          </p:cNvPr>
          <p:cNvSpPr/>
          <p:nvPr/>
        </p:nvSpPr>
        <p:spPr>
          <a:xfrm>
            <a:off x="147873" y="1622562"/>
            <a:ext cx="2170781" cy="811821"/>
          </a:xfrm>
          <a:prstGeom prst="rect">
            <a:avLst/>
          </a:prstGeom>
          <a:solidFill>
            <a:srgbClr val="F6CDD3"/>
          </a:solidFill>
          <a:ln>
            <a:solidFill>
              <a:srgbClr val="F6CD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16" name="Speech Bubble: Rectangle with Corners Rounded 1115">
            <a:extLst>
              <a:ext uri="{FF2B5EF4-FFF2-40B4-BE49-F238E27FC236}">
                <a16:creationId xmlns:a16="http://schemas.microsoft.com/office/drawing/2014/main" id="{018E6F56-0BEF-3F79-0419-1CCB1430F78E}"/>
              </a:ext>
            </a:extLst>
          </p:cNvPr>
          <p:cNvSpPr/>
          <p:nvPr/>
        </p:nvSpPr>
        <p:spPr>
          <a:xfrm>
            <a:off x="1362135" y="995170"/>
            <a:ext cx="3381641" cy="498214"/>
          </a:xfrm>
          <a:prstGeom prst="wedgeRoundRectCallout">
            <a:avLst>
              <a:gd name="adj1" fmla="val -57960"/>
              <a:gd name="adj2" fmla="val -13373"/>
              <a:gd name="adj3" fmla="val 16667"/>
            </a:avLst>
          </a:prstGeom>
          <a:solidFill>
            <a:schemeClr val="bg1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rgbClr val="9D1E27"/>
              </a:solidFill>
            </a:endParaRPr>
          </a:p>
        </p:txBody>
      </p:sp>
      <p:sp>
        <p:nvSpPr>
          <p:cNvPr id="1089" name="Oval 1088">
            <a:extLst>
              <a:ext uri="{FF2B5EF4-FFF2-40B4-BE49-F238E27FC236}">
                <a16:creationId xmlns:a16="http://schemas.microsoft.com/office/drawing/2014/main" id="{AE57AF15-19E0-0351-0D20-3B97A1D6162E}"/>
              </a:ext>
            </a:extLst>
          </p:cNvPr>
          <p:cNvSpPr/>
          <p:nvPr/>
        </p:nvSpPr>
        <p:spPr>
          <a:xfrm>
            <a:off x="2708121" y="3695341"/>
            <a:ext cx="404071" cy="409171"/>
          </a:xfrm>
          <a:prstGeom prst="ellipse">
            <a:avLst/>
          </a:prstGeom>
          <a:solidFill>
            <a:schemeClr val="bg1"/>
          </a:solidFill>
          <a:ln>
            <a:solidFill>
              <a:srgbClr val="01563F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" name="Content Placeholder 4" descr="A red rectangular sign with white text&#10;&#10;AI-generated content may be incorrect.">
            <a:extLst>
              <a:ext uri="{FF2B5EF4-FFF2-40B4-BE49-F238E27FC236}">
                <a16:creationId xmlns:a16="http://schemas.microsoft.com/office/drawing/2014/main" id="{5FCEF18C-244E-DCD9-4A0A-848F2A7D03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 l="8612" t="30022" r="8263" b="29469"/>
          <a:stretch>
            <a:fillRect/>
          </a:stretch>
        </p:blipFill>
        <p:spPr>
          <a:xfrm>
            <a:off x="11157547" y="6492418"/>
            <a:ext cx="991635" cy="36271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8A295DC-4CF1-4DBD-185A-8F0F9C85832E}"/>
              </a:ext>
            </a:extLst>
          </p:cNvPr>
          <p:cNvSpPr txBox="1"/>
          <p:nvPr/>
        </p:nvSpPr>
        <p:spPr>
          <a:xfrm>
            <a:off x="-4395" y="286718"/>
            <a:ext cx="116203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>
                <a:solidFill>
                  <a:srgbClr val="9D1E27"/>
                </a:solidFill>
              </a:rPr>
              <a:t>Premium today means an app that manages, advises, &amp; rewards; handling every financial need in one place at no extra cost</a:t>
            </a:r>
            <a:endParaRPr lang="en-IN" sz="1600" b="1" i="1">
              <a:solidFill>
                <a:srgbClr val="9D1E27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DB2F06-5EA5-F993-B723-0F6BFB39894D}"/>
              </a:ext>
            </a:extLst>
          </p:cNvPr>
          <p:cNvSpPr txBox="1"/>
          <p:nvPr/>
        </p:nvSpPr>
        <p:spPr>
          <a:xfrm>
            <a:off x="556458" y="6536463"/>
            <a:ext cx="1901387" cy="261610"/>
          </a:xfrm>
          <a:prstGeom prst="rect">
            <a:avLst/>
          </a:prstGeom>
          <a:solidFill>
            <a:srgbClr val="9D1E27"/>
          </a:solidFill>
        </p:spPr>
        <p:txBody>
          <a:bodyPr wrap="square" rtlCol="0" anchor="ctr">
            <a:spAutoFit/>
          </a:bodyPr>
          <a:lstStyle/>
          <a:p>
            <a:r>
              <a:rPr lang="en-US" sz="1100" b="1">
                <a:solidFill>
                  <a:schemeClr val="bg1"/>
                </a:solidFill>
                <a:latin typeface="ADLaM Display" panose="02010000000000000000" pitchFamily="2" charset="77"/>
                <a:ea typeface="ADLaM Display" panose="02010000000000000000" pitchFamily="2" charset="77"/>
                <a:cs typeface="ADLaM Display" panose="02010000000000000000" pitchFamily="2" charset="77"/>
              </a:rPr>
              <a:t>The Ambassadors of Quan</a:t>
            </a:r>
          </a:p>
        </p:txBody>
      </p:sp>
      <p:sp>
        <p:nvSpPr>
          <p:cNvPr id="7" name="Chevron 17">
            <a:extLst>
              <a:ext uri="{FF2B5EF4-FFF2-40B4-BE49-F238E27FC236}">
                <a16:creationId xmlns:a16="http://schemas.microsoft.com/office/drawing/2014/main" id="{FF56E141-0845-B736-E71F-98748E34F9D3}"/>
              </a:ext>
            </a:extLst>
          </p:cNvPr>
          <p:cNvSpPr/>
          <p:nvPr/>
        </p:nvSpPr>
        <p:spPr>
          <a:xfrm>
            <a:off x="311169" y="6503191"/>
            <a:ext cx="225486" cy="333905"/>
          </a:xfrm>
          <a:prstGeom prst="chevron">
            <a:avLst/>
          </a:prstGeom>
          <a:solidFill>
            <a:srgbClr val="9D1E2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Chevron 18">
            <a:extLst>
              <a:ext uri="{FF2B5EF4-FFF2-40B4-BE49-F238E27FC236}">
                <a16:creationId xmlns:a16="http://schemas.microsoft.com/office/drawing/2014/main" id="{FF884609-C155-79E0-53D7-55E6BCED0710}"/>
              </a:ext>
            </a:extLst>
          </p:cNvPr>
          <p:cNvSpPr/>
          <p:nvPr/>
        </p:nvSpPr>
        <p:spPr>
          <a:xfrm>
            <a:off x="176993" y="6503191"/>
            <a:ext cx="225486" cy="333905"/>
          </a:xfrm>
          <a:prstGeom prst="chevron">
            <a:avLst/>
          </a:prstGeom>
          <a:solidFill>
            <a:srgbClr val="9D1E2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Chevron 19">
            <a:extLst>
              <a:ext uri="{FF2B5EF4-FFF2-40B4-BE49-F238E27FC236}">
                <a16:creationId xmlns:a16="http://schemas.microsoft.com/office/drawing/2014/main" id="{23DFA38C-E727-716F-8566-8AA83872EA4A}"/>
              </a:ext>
            </a:extLst>
          </p:cNvPr>
          <p:cNvSpPr/>
          <p:nvPr/>
        </p:nvSpPr>
        <p:spPr>
          <a:xfrm>
            <a:off x="42818" y="6503191"/>
            <a:ext cx="225486" cy="333905"/>
          </a:xfrm>
          <a:prstGeom prst="chevron">
            <a:avLst/>
          </a:prstGeom>
          <a:solidFill>
            <a:srgbClr val="9D1E2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21FCE4D-A484-9EC6-5E3C-D54900E8B8E6}"/>
              </a:ext>
            </a:extLst>
          </p:cNvPr>
          <p:cNvCxnSpPr>
            <a:cxnSpLocks/>
          </p:cNvCxnSpPr>
          <p:nvPr/>
        </p:nvCxnSpPr>
        <p:spPr>
          <a:xfrm>
            <a:off x="33956" y="6453227"/>
            <a:ext cx="12158044" cy="0"/>
          </a:xfrm>
          <a:prstGeom prst="line">
            <a:avLst/>
          </a:prstGeom>
          <a:ln>
            <a:solidFill>
              <a:srgbClr val="9D1E2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77DD829-0164-C03F-9AE3-04701190BDF8}"/>
              </a:ext>
            </a:extLst>
          </p:cNvPr>
          <p:cNvSpPr txBox="1"/>
          <p:nvPr/>
        </p:nvSpPr>
        <p:spPr>
          <a:xfrm>
            <a:off x="2504279" y="6536463"/>
            <a:ext cx="1099574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i="1"/>
              <a:t>Note: Primary Research Data is derived from Personal Interviews conducted with an IDFC BM,</a:t>
            </a:r>
          </a:p>
          <a:p>
            <a:r>
              <a:rPr lang="en-US" sz="700" i="1"/>
              <a:t>Category Level Average Scores: </a:t>
            </a:r>
            <a:r>
              <a:rPr lang="en-US" sz="700" i="1">
                <a:hlinkClick r:id="rId7"/>
              </a:rPr>
              <a:t>Forrester Reviews And Scores Indian Mobile Banking Apps</a:t>
            </a:r>
            <a:r>
              <a:rPr lang="en-US" sz="700" i="1"/>
              <a:t> </a:t>
            </a:r>
          </a:p>
          <a:p>
            <a:endParaRPr lang="en-IN" sz="7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Arrow: Chevron 10">
            <a:extLst>
              <a:ext uri="{FF2B5EF4-FFF2-40B4-BE49-F238E27FC236}">
                <a16:creationId xmlns:a16="http://schemas.microsoft.com/office/drawing/2014/main" id="{76E2F974-859C-A1AC-B8B6-5C3A6E8F990D}"/>
              </a:ext>
            </a:extLst>
          </p:cNvPr>
          <p:cNvSpPr/>
          <p:nvPr/>
        </p:nvSpPr>
        <p:spPr>
          <a:xfrm>
            <a:off x="2457845" y="0"/>
            <a:ext cx="2530236" cy="324000"/>
          </a:xfrm>
          <a:prstGeom prst="chevron">
            <a:avLst>
              <a:gd name="adj" fmla="val 34868"/>
            </a:avLst>
          </a:prstGeom>
          <a:solidFill>
            <a:srgbClr val="9D1E27">
              <a:alpha val="50196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IN" sz="1200" b="1">
                <a:solidFill>
                  <a:schemeClr val="accent2">
                    <a:lumMod val="50000"/>
                  </a:schemeClr>
                </a:solidFill>
                <a:cs typeface="Calibri" panose="020F0502020204030204" pitchFamily="34" charset="0"/>
              </a:rPr>
              <a:t>Slide 2: Gaps &amp; Solution </a:t>
            </a: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7032C97A-2E61-0541-4017-EBC5E3008C98}"/>
              </a:ext>
            </a:extLst>
          </p:cNvPr>
          <p:cNvSpPr/>
          <p:nvPr/>
        </p:nvSpPr>
        <p:spPr>
          <a:xfrm>
            <a:off x="0" y="3275"/>
            <a:ext cx="2504279" cy="315083"/>
          </a:xfrm>
          <a:prstGeom prst="homePlate">
            <a:avLst>
              <a:gd name="adj" fmla="val 34211"/>
            </a:avLst>
          </a:prstGeom>
          <a:solidFill>
            <a:srgbClr val="9D1E27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008" tIns="32004" rIns="97002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IN" sz="1200" b="1">
                <a:solidFill>
                  <a:schemeClr val="bg1"/>
                </a:solidFill>
              </a:rPr>
              <a:t>Slide 1: Research &amp; Positioning</a:t>
            </a:r>
          </a:p>
        </p:txBody>
      </p:sp>
      <p:sp>
        <p:nvSpPr>
          <p:cNvPr id="13" name="Arrow: Chevron 10">
            <a:extLst>
              <a:ext uri="{FF2B5EF4-FFF2-40B4-BE49-F238E27FC236}">
                <a16:creationId xmlns:a16="http://schemas.microsoft.com/office/drawing/2014/main" id="{AC79C16E-90BB-C62C-52BA-CEAF38C8A6EB}"/>
              </a:ext>
            </a:extLst>
          </p:cNvPr>
          <p:cNvSpPr/>
          <p:nvPr/>
        </p:nvSpPr>
        <p:spPr>
          <a:xfrm>
            <a:off x="4941388" y="0"/>
            <a:ext cx="2483543" cy="324000"/>
          </a:xfrm>
          <a:prstGeom prst="chevron">
            <a:avLst>
              <a:gd name="adj" fmla="val 34868"/>
            </a:avLst>
          </a:prstGeom>
          <a:solidFill>
            <a:srgbClr val="9D1E27">
              <a:alpha val="50196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US" sz="1200" b="1">
                <a:solidFill>
                  <a:schemeClr val="accent2">
                    <a:lumMod val="50000"/>
                  </a:schemeClr>
                </a:solidFill>
                <a:cs typeface="Calibri" panose="020F0502020204030204" pitchFamily="34" charset="0"/>
              </a:rPr>
              <a:t>E</a:t>
            </a:r>
            <a:r>
              <a:rPr lang="en-IN" sz="1200" b="1" err="1">
                <a:solidFill>
                  <a:schemeClr val="accent2">
                    <a:lumMod val="50000"/>
                  </a:schemeClr>
                </a:solidFill>
                <a:cs typeface="Calibri" panose="020F0502020204030204" pitchFamily="34" charset="0"/>
              </a:rPr>
              <a:t>xhibit</a:t>
            </a:r>
            <a:r>
              <a:rPr lang="en-IN" sz="1200" b="1">
                <a:solidFill>
                  <a:schemeClr val="accent2">
                    <a:lumMod val="50000"/>
                  </a:schemeClr>
                </a:solidFill>
                <a:cs typeface="Calibri" panose="020F0502020204030204" pitchFamily="34" charset="0"/>
              </a:rPr>
              <a:t> 1: Search 2.0 </a:t>
            </a:r>
          </a:p>
        </p:txBody>
      </p:sp>
      <p:sp>
        <p:nvSpPr>
          <p:cNvPr id="14" name="Arrow: Chevron 10">
            <a:extLst>
              <a:ext uri="{FF2B5EF4-FFF2-40B4-BE49-F238E27FC236}">
                <a16:creationId xmlns:a16="http://schemas.microsoft.com/office/drawing/2014/main" id="{12F85209-13EF-B5DC-02A0-F1664D002152}"/>
              </a:ext>
            </a:extLst>
          </p:cNvPr>
          <p:cNvSpPr/>
          <p:nvPr/>
        </p:nvSpPr>
        <p:spPr>
          <a:xfrm>
            <a:off x="7383998" y="0"/>
            <a:ext cx="2309224" cy="324000"/>
          </a:xfrm>
          <a:prstGeom prst="chevron">
            <a:avLst>
              <a:gd name="adj" fmla="val 34868"/>
            </a:avLst>
          </a:prstGeom>
          <a:solidFill>
            <a:srgbClr val="9D1E27">
              <a:alpha val="50196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IN" sz="1200" b="1">
                <a:solidFill>
                  <a:schemeClr val="accent2">
                    <a:lumMod val="50000"/>
                  </a:schemeClr>
                </a:solidFill>
                <a:cs typeface="Calibri" panose="020F0502020204030204" pitchFamily="34" charset="0"/>
              </a:rPr>
              <a:t>Exhibit 2: Smart Rewards</a:t>
            </a:r>
            <a:endParaRPr lang="en-IN" sz="1050">
              <a:solidFill>
                <a:schemeClr val="accent2">
                  <a:lumMod val="50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15" name="Arrow: Chevron 10">
            <a:extLst>
              <a:ext uri="{FF2B5EF4-FFF2-40B4-BE49-F238E27FC236}">
                <a16:creationId xmlns:a16="http://schemas.microsoft.com/office/drawing/2014/main" id="{5CF08868-0EA8-D107-DE39-E1000BF40B5D}"/>
              </a:ext>
            </a:extLst>
          </p:cNvPr>
          <p:cNvSpPr/>
          <p:nvPr/>
        </p:nvSpPr>
        <p:spPr>
          <a:xfrm>
            <a:off x="9693222" y="0"/>
            <a:ext cx="2483543" cy="324000"/>
          </a:xfrm>
          <a:prstGeom prst="chevron">
            <a:avLst>
              <a:gd name="adj" fmla="val 34868"/>
            </a:avLst>
          </a:prstGeom>
          <a:solidFill>
            <a:srgbClr val="9D1E27">
              <a:alpha val="50196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IN" sz="1200" b="1">
                <a:solidFill>
                  <a:schemeClr val="accent2">
                    <a:lumMod val="50000"/>
                  </a:schemeClr>
                </a:solidFill>
                <a:cs typeface="Calibri" panose="020F0502020204030204" pitchFamily="34" charset="0"/>
              </a:rPr>
              <a:t>Exhibits 3: RAG/Costing/Feasibility  </a:t>
            </a:r>
            <a:endParaRPr lang="en-IN" sz="1050">
              <a:solidFill>
                <a:schemeClr val="accent2">
                  <a:lumMod val="50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864556C-4BB0-04C1-047E-B23F7CA08C6D}"/>
              </a:ext>
            </a:extLst>
          </p:cNvPr>
          <p:cNvSpPr/>
          <p:nvPr/>
        </p:nvSpPr>
        <p:spPr>
          <a:xfrm>
            <a:off x="1356274" y="977372"/>
            <a:ext cx="3502899" cy="547353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000">
                <a:solidFill>
                  <a:schemeClr val="tx1"/>
                </a:solidFill>
              </a:rPr>
              <a:t> </a:t>
            </a:r>
            <a:r>
              <a:rPr lang="en-IN" sz="1000" i="1">
                <a:solidFill>
                  <a:schemeClr val="tx1"/>
                </a:solidFill>
              </a:rPr>
              <a:t>“</a:t>
            </a:r>
            <a:r>
              <a:rPr lang="en-US" sz="1000" i="1">
                <a:solidFill>
                  <a:schemeClr val="tx1"/>
                </a:solidFill>
              </a:rPr>
              <a:t>Nearly </a:t>
            </a:r>
            <a:r>
              <a:rPr lang="en-US" sz="1000" b="1" i="1">
                <a:solidFill>
                  <a:srgbClr val="9D1E27"/>
                </a:solidFill>
              </a:rPr>
              <a:t>85% </a:t>
            </a:r>
            <a:r>
              <a:rPr lang="en-US" sz="1000" i="1">
                <a:solidFill>
                  <a:schemeClr val="tx1"/>
                </a:solidFill>
              </a:rPr>
              <a:t>of our customers </a:t>
            </a:r>
            <a:r>
              <a:rPr lang="en-US" sz="1000" b="1" i="1">
                <a:solidFill>
                  <a:srgbClr val="9D1E27"/>
                </a:solidFill>
              </a:rPr>
              <a:t>use the mobile app</a:t>
            </a:r>
            <a:r>
              <a:rPr lang="en-US" sz="1000" i="1">
                <a:solidFill>
                  <a:schemeClr val="tx1"/>
                </a:solidFill>
              </a:rPr>
              <a:t>. Customers want more, an app that manages their finances”</a:t>
            </a:r>
            <a:endParaRPr lang="en-IN" sz="1000" i="1">
              <a:solidFill>
                <a:schemeClr val="tx1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8046C3F-A665-A58D-20C3-A2395578F099}"/>
              </a:ext>
            </a:extLst>
          </p:cNvPr>
          <p:cNvCxnSpPr>
            <a:cxnSpLocks/>
          </p:cNvCxnSpPr>
          <p:nvPr/>
        </p:nvCxnSpPr>
        <p:spPr>
          <a:xfrm>
            <a:off x="4983841" y="2655124"/>
            <a:ext cx="0" cy="3798103"/>
          </a:xfrm>
          <a:prstGeom prst="line">
            <a:avLst/>
          </a:prstGeom>
          <a:ln>
            <a:solidFill>
              <a:srgbClr val="9D1E2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Arrow: Chevron 10">
            <a:extLst>
              <a:ext uri="{FF2B5EF4-FFF2-40B4-BE49-F238E27FC236}">
                <a16:creationId xmlns:a16="http://schemas.microsoft.com/office/drawing/2014/main" id="{2F917294-989F-BBF0-F1AA-6D43B54E4959}"/>
              </a:ext>
            </a:extLst>
          </p:cNvPr>
          <p:cNvSpPr/>
          <p:nvPr/>
        </p:nvSpPr>
        <p:spPr>
          <a:xfrm>
            <a:off x="149967" y="642984"/>
            <a:ext cx="6914675" cy="252000"/>
          </a:xfrm>
          <a:prstGeom prst="chevron">
            <a:avLst>
              <a:gd name="adj" fmla="val 34868"/>
            </a:avLst>
          </a:prstGeom>
          <a:solidFill>
            <a:srgbClr val="9D1E27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>
              <a:lnSpc>
                <a:spcPct val="90000"/>
              </a:lnSpc>
              <a:spcBef>
                <a:spcPct val="0"/>
              </a:spcBef>
            </a:pPr>
            <a:r>
              <a:rPr lang="en-US" sz="1400" b="1" i="1"/>
              <a:t>Primary Research : Key Insights from Interviews (6) and Survey (34)</a:t>
            </a:r>
            <a:endParaRPr lang="en-IN" sz="1400" b="1" i="1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pic>
        <p:nvPicPr>
          <p:cNvPr id="22" name="Picture 21" descr="A person in a suit and tie with a building behind him&#10;&#10;AI-generated content may be incorrect.">
            <a:extLst>
              <a:ext uri="{FF2B5EF4-FFF2-40B4-BE49-F238E27FC236}">
                <a16:creationId xmlns:a16="http://schemas.microsoft.com/office/drawing/2014/main" id="{4495294A-B36E-FCD5-ED12-336F0A90A59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94" y="1011347"/>
            <a:ext cx="490298" cy="490298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D694CF3-703C-1CA7-B7D2-CE431C51A9E3}"/>
              </a:ext>
            </a:extLst>
          </p:cNvPr>
          <p:cNvSpPr/>
          <p:nvPr/>
        </p:nvSpPr>
        <p:spPr>
          <a:xfrm>
            <a:off x="595028" y="1144535"/>
            <a:ext cx="842290" cy="260066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000" b="1">
                <a:solidFill>
                  <a:srgbClr val="9D1E27"/>
                </a:solidFill>
              </a:rPr>
              <a:t>IDFC</a:t>
            </a:r>
          </a:p>
          <a:p>
            <a:r>
              <a:rPr lang="en-IN" sz="1000" b="1">
                <a:solidFill>
                  <a:srgbClr val="9D1E27"/>
                </a:solidFill>
              </a:rPr>
              <a:t>Branch </a:t>
            </a:r>
          </a:p>
          <a:p>
            <a:r>
              <a:rPr lang="en-IN" sz="1000" b="1">
                <a:solidFill>
                  <a:srgbClr val="9D1E27"/>
                </a:solidFill>
              </a:rPr>
              <a:t>Manager 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DD48BE8B-45D1-40F0-EA0E-E02EF6CDD84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6375" y="1673606"/>
            <a:ext cx="387705" cy="387705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E18ABD9-3627-5301-49B1-0094A318AA3F}"/>
              </a:ext>
            </a:extLst>
          </p:cNvPr>
          <p:cNvSpPr/>
          <p:nvPr/>
        </p:nvSpPr>
        <p:spPr>
          <a:xfrm>
            <a:off x="510012" y="2169599"/>
            <a:ext cx="1672772" cy="225950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000" b="1">
                <a:solidFill>
                  <a:srgbClr val="9D1E27"/>
                </a:solidFill>
              </a:rPr>
              <a:t> CUSTOMER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FC1D5D9-223D-0231-4AE8-5C41F4212554}"/>
              </a:ext>
            </a:extLst>
          </p:cNvPr>
          <p:cNvSpPr/>
          <p:nvPr/>
        </p:nvSpPr>
        <p:spPr>
          <a:xfrm>
            <a:off x="580383" y="1646805"/>
            <a:ext cx="1766381" cy="547353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000" b="1">
                <a:solidFill>
                  <a:srgbClr val="C00000"/>
                </a:solidFill>
              </a:rPr>
              <a:t> “</a:t>
            </a:r>
            <a:r>
              <a:rPr lang="en-US" sz="1000" b="1">
                <a:solidFill>
                  <a:srgbClr val="C00000"/>
                </a:solidFill>
              </a:rPr>
              <a:t>The app is smooth &amp; easy to use but feels limited to transactions”</a:t>
            </a:r>
            <a:endParaRPr lang="en-IN" sz="1000" b="1">
              <a:solidFill>
                <a:srgbClr val="C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6B205C0-8CDD-26FD-4A9E-55BB36FAC2F4}"/>
              </a:ext>
            </a:extLst>
          </p:cNvPr>
          <p:cNvSpPr/>
          <p:nvPr/>
        </p:nvSpPr>
        <p:spPr>
          <a:xfrm>
            <a:off x="2967209" y="2196425"/>
            <a:ext cx="1792727" cy="189364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000" b="1">
                <a:solidFill>
                  <a:schemeClr val="accent1"/>
                </a:solidFill>
              </a:rPr>
              <a:t> OTHER BANK CUSTOMER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B17DE4D-189C-15EE-91DA-91B7EAE1A412}"/>
              </a:ext>
            </a:extLst>
          </p:cNvPr>
          <p:cNvSpPr/>
          <p:nvPr/>
        </p:nvSpPr>
        <p:spPr>
          <a:xfrm>
            <a:off x="2388914" y="1549217"/>
            <a:ext cx="2459585" cy="715484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000" b="1">
                <a:solidFill>
                  <a:schemeClr val="accent1"/>
                </a:solidFill>
              </a:rPr>
              <a:t> “</a:t>
            </a:r>
            <a:r>
              <a:rPr lang="en-US" sz="1000" b="1">
                <a:solidFill>
                  <a:schemeClr val="accent1"/>
                </a:solidFill>
              </a:rPr>
              <a:t>I want my banking app to be a one-stop hub, it should act like a financial manager, not just payments app”</a:t>
            </a:r>
            <a:endParaRPr lang="en-IN" sz="1000" b="1">
              <a:solidFill>
                <a:schemeClr val="accent1"/>
              </a:solidFill>
            </a:endParaRPr>
          </a:p>
        </p:txBody>
      </p:sp>
      <p:pic>
        <p:nvPicPr>
          <p:cNvPr id="33" name="Picture 32" descr="A red square with white text">
            <a:extLst>
              <a:ext uri="{FF2B5EF4-FFF2-40B4-BE49-F238E27FC236}">
                <a16:creationId xmlns:a16="http://schemas.microsoft.com/office/drawing/2014/main" id="{A87E658E-DF72-3DA2-2AB7-7EDE7F1250E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rcRect l="32936" t="16981" r="33488" b="17636"/>
          <a:stretch>
            <a:fillRect/>
          </a:stretch>
        </p:blipFill>
        <p:spPr>
          <a:xfrm>
            <a:off x="254769" y="2105268"/>
            <a:ext cx="284930" cy="291292"/>
          </a:xfrm>
          <a:prstGeom prst="roundRect">
            <a:avLst/>
          </a:prstGeom>
        </p:spPr>
      </p:pic>
      <p:pic>
        <p:nvPicPr>
          <p:cNvPr id="1032" name="Picture 8" descr="HDFC logo thumbnail transparent PNG - StickPNG">
            <a:extLst>
              <a:ext uri="{FF2B5EF4-FFF2-40B4-BE49-F238E27FC236}">
                <a16:creationId xmlns:a16="http://schemas.microsoft.com/office/drawing/2014/main" id="{681BE6A3-F10A-A898-A9DC-45BCFEB8E4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6457" y="2153662"/>
            <a:ext cx="261242" cy="261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Arrow: Chevron 10">
            <a:extLst>
              <a:ext uri="{FF2B5EF4-FFF2-40B4-BE49-F238E27FC236}">
                <a16:creationId xmlns:a16="http://schemas.microsoft.com/office/drawing/2014/main" id="{1FBB32DD-E7B7-7A87-819A-0B3815B91796}"/>
              </a:ext>
            </a:extLst>
          </p:cNvPr>
          <p:cNvSpPr/>
          <p:nvPr/>
        </p:nvSpPr>
        <p:spPr>
          <a:xfrm>
            <a:off x="147873" y="2656862"/>
            <a:ext cx="4791786" cy="252000"/>
          </a:xfrm>
          <a:prstGeom prst="chevron">
            <a:avLst>
              <a:gd name="adj" fmla="val 34868"/>
            </a:avLst>
          </a:prstGeom>
          <a:solidFill>
            <a:srgbClr val="9D1E27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>
              <a:lnSpc>
                <a:spcPct val="90000"/>
              </a:lnSpc>
              <a:spcBef>
                <a:spcPct val="0"/>
              </a:spcBef>
            </a:pPr>
            <a:r>
              <a:rPr lang="en-US" sz="1400" b="1" i="1"/>
              <a:t>Competitor Positioning </a:t>
            </a:r>
            <a:r>
              <a:rPr lang="en-US" sz="1400" b="1" i="1" err="1"/>
              <a:t>w.r.t.</a:t>
            </a:r>
            <a:r>
              <a:rPr lang="en-US" sz="1400" b="1" i="1"/>
              <a:t> app usage experience</a:t>
            </a:r>
            <a:endParaRPr lang="en-IN" sz="1400" b="1" i="1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389C461-B29E-713A-A359-7BA36715969D}"/>
              </a:ext>
            </a:extLst>
          </p:cNvPr>
          <p:cNvCxnSpPr>
            <a:cxnSpLocks/>
          </p:cNvCxnSpPr>
          <p:nvPr/>
        </p:nvCxnSpPr>
        <p:spPr>
          <a:xfrm>
            <a:off x="2526861" y="3182251"/>
            <a:ext cx="0" cy="1317950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CE82656-B44A-3F4B-0FAB-969B8F48D48F}"/>
              </a:ext>
            </a:extLst>
          </p:cNvPr>
          <p:cNvCxnSpPr/>
          <p:nvPr/>
        </p:nvCxnSpPr>
        <p:spPr>
          <a:xfrm>
            <a:off x="721337" y="3892118"/>
            <a:ext cx="3627375" cy="0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1EB3AABA-CA21-07E9-AB34-E59704835917}"/>
              </a:ext>
            </a:extLst>
          </p:cNvPr>
          <p:cNvCxnSpPr>
            <a:cxnSpLocks/>
          </p:cNvCxnSpPr>
          <p:nvPr/>
        </p:nvCxnSpPr>
        <p:spPr>
          <a:xfrm flipV="1">
            <a:off x="692168" y="3182716"/>
            <a:ext cx="42" cy="13620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E2179E79-A460-D82B-18EF-CF5979EA40CB}"/>
              </a:ext>
            </a:extLst>
          </p:cNvPr>
          <p:cNvCxnSpPr/>
          <p:nvPr/>
        </p:nvCxnSpPr>
        <p:spPr>
          <a:xfrm>
            <a:off x="676108" y="4544767"/>
            <a:ext cx="375948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52FBEA2-1395-9B94-FC74-0AFED3B9DFC1}"/>
              </a:ext>
            </a:extLst>
          </p:cNvPr>
          <p:cNvSpPr/>
          <p:nvPr/>
        </p:nvSpPr>
        <p:spPr>
          <a:xfrm rot="16200000">
            <a:off x="-436181" y="3806065"/>
            <a:ext cx="1685252" cy="316596"/>
          </a:xfrm>
          <a:prstGeom prst="roundRect">
            <a:avLst/>
          </a:prstGeom>
          <a:solidFill>
            <a:srgbClr val="F5B8C7"/>
          </a:solidFill>
          <a:ln>
            <a:solidFill>
              <a:srgbClr val="F5B8C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00" b="1">
                <a:solidFill>
                  <a:schemeClr val="tx1"/>
                </a:solidFill>
              </a:rPr>
              <a:t> Quality of Experience                              (Basic Utility </a:t>
            </a:r>
            <a:r>
              <a:rPr lang="en-IN" sz="1000" b="1">
                <a:solidFill>
                  <a:schemeClr val="tx1"/>
                </a:solidFill>
                <a:sym typeface="Wingdings" panose="05000000000000000000" pitchFamily="2" charset="2"/>
              </a:rPr>
              <a:t> Premium)</a:t>
            </a:r>
            <a:endParaRPr lang="en-IN" sz="1000" b="1">
              <a:solidFill>
                <a:schemeClr val="tx1"/>
              </a:solidFill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45A4D418-5FE4-F3CF-1C63-E81E2E37CD13}"/>
              </a:ext>
            </a:extLst>
          </p:cNvPr>
          <p:cNvSpPr/>
          <p:nvPr/>
        </p:nvSpPr>
        <p:spPr>
          <a:xfrm>
            <a:off x="655284" y="4633897"/>
            <a:ext cx="3759479" cy="168663"/>
          </a:xfrm>
          <a:prstGeom prst="roundRect">
            <a:avLst/>
          </a:prstGeom>
          <a:solidFill>
            <a:srgbClr val="F5B8C7"/>
          </a:solidFill>
          <a:ln>
            <a:solidFill>
              <a:srgbClr val="F5B8C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00" b="1">
                <a:solidFill>
                  <a:schemeClr val="tx1"/>
                </a:solidFill>
              </a:rPr>
              <a:t>Range of services &amp; ecosystem integration (Low </a:t>
            </a:r>
            <a:r>
              <a:rPr lang="en-IN" sz="1000" b="1">
                <a:solidFill>
                  <a:schemeClr val="tx1"/>
                </a:solidFill>
                <a:sym typeface="Wingdings" panose="05000000000000000000" pitchFamily="2" charset="2"/>
              </a:rPr>
              <a:t> High)</a:t>
            </a:r>
            <a:endParaRPr lang="en-IN" sz="1000" b="1">
              <a:solidFill>
                <a:schemeClr val="tx1"/>
              </a:solidFill>
            </a:endParaRPr>
          </a:p>
        </p:txBody>
      </p:sp>
      <p:pic>
        <p:nvPicPr>
          <p:cNvPr id="59" name="Picture 58" descr="A red square with white text">
            <a:extLst>
              <a:ext uri="{FF2B5EF4-FFF2-40B4-BE49-F238E27FC236}">
                <a16:creationId xmlns:a16="http://schemas.microsoft.com/office/drawing/2014/main" id="{0F36BBCD-11E8-5DAE-F5F8-ECDCE5EFF84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rcRect l="32936" t="16981" r="33488" b="17636"/>
          <a:stretch>
            <a:fillRect/>
          </a:stretch>
        </p:blipFill>
        <p:spPr>
          <a:xfrm>
            <a:off x="1703820" y="6930324"/>
            <a:ext cx="47688" cy="48753"/>
          </a:xfrm>
          <a:prstGeom prst="roundRect">
            <a:avLst/>
          </a:prstGeom>
        </p:spPr>
      </p:pic>
      <p:pic>
        <p:nvPicPr>
          <p:cNvPr id="60" name="Picture 8" descr="HDFC logo thumbnail transparent PNG - StickPNG">
            <a:extLst>
              <a:ext uri="{FF2B5EF4-FFF2-40B4-BE49-F238E27FC236}">
                <a16:creationId xmlns:a16="http://schemas.microsoft.com/office/drawing/2014/main" id="{C29D7C92-B3E1-CA6C-517C-E31D8F0FED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749" y="3998092"/>
            <a:ext cx="333139" cy="333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Kotak Bank - Apps on Google Play">
            <a:extLst>
              <a:ext uri="{FF2B5EF4-FFF2-40B4-BE49-F238E27FC236}">
                <a16:creationId xmlns:a16="http://schemas.microsoft.com/office/drawing/2014/main" id="{FF69F00C-9CD9-CB9E-2C55-4BE0647285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41" r="25262"/>
          <a:stretch>
            <a:fillRect/>
          </a:stretch>
        </p:blipFill>
        <p:spPr bwMode="auto">
          <a:xfrm>
            <a:off x="2209349" y="3786465"/>
            <a:ext cx="264082" cy="271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YONO SBI: Banking &amp; Lifestyle – Apps on Google Play">
            <a:extLst>
              <a:ext uri="{FF2B5EF4-FFF2-40B4-BE49-F238E27FC236}">
                <a16:creationId xmlns:a16="http://schemas.microsoft.com/office/drawing/2014/main" id="{A3B84B4E-99BD-6867-B5AE-4F829A9CB8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408" y="4121540"/>
            <a:ext cx="234800" cy="23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ICICI Bank logo thumbnail transparent PNG - StickPNG">
            <a:extLst>
              <a:ext uri="{FF2B5EF4-FFF2-40B4-BE49-F238E27FC236}">
                <a16:creationId xmlns:a16="http://schemas.microsoft.com/office/drawing/2014/main" id="{371A9C17-E9CD-05A4-1FE9-C542C186EE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0634" y="3555817"/>
            <a:ext cx="211774" cy="229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Axis Bank logo in transparent PNG and vectorized SVG formats">
            <a:extLst>
              <a:ext uri="{FF2B5EF4-FFF2-40B4-BE49-F238E27FC236}">
                <a16:creationId xmlns:a16="http://schemas.microsoft.com/office/drawing/2014/main" id="{9AF9AF06-BE3A-3C6F-3CEE-6679A44FEE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0503" y="3649239"/>
            <a:ext cx="242931" cy="210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61" descr="A red square with white text">
            <a:extLst>
              <a:ext uri="{FF2B5EF4-FFF2-40B4-BE49-F238E27FC236}">
                <a16:creationId xmlns:a16="http://schemas.microsoft.com/office/drawing/2014/main" id="{5ADE1947-0652-8FFD-3EAD-F2E9A222ED5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rcRect l="32936" t="16981" r="33488" b="17636"/>
          <a:stretch>
            <a:fillRect/>
          </a:stretch>
        </p:blipFill>
        <p:spPr>
          <a:xfrm>
            <a:off x="2805702" y="3766505"/>
            <a:ext cx="216238" cy="221067"/>
          </a:xfrm>
          <a:prstGeom prst="roundRect">
            <a:avLst/>
          </a:prstGeom>
        </p:spPr>
      </p:pic>
      <p:sp>
        <p:nvSpPr>
          <p:cNvPr id="1027" name="Rectangle 21">
            <a:extLst>
              <a:ext uri="{FF2B5EF4-FFF2-40B4-BE49-F238E27FC236}">
                <a16:creationId xmlns:a16="http://schemas.microsoft.com/office/drawing/2014/main" id="{13B4670D-27CD-FB87-54B3-461B3826F0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056" y="62174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IN"/>
          </a:p>
        </p:txBody>
      </p:sp>
      <p:sp>
        <p:nvSpPr>
          <p:cNvPr id="1030" name="Rectangle 1029">
            <a:extLst>
              <a:ext uri="{FF2B5EF4-FFF2-40B4-BE49-F238E27FC236}">
                <a16:creationId xmlns:a16="http://schemas.microsoft.com/office/drawing/2014/main" id="{36F8935D-7A29-A209-DB80-FEC711C4C36B}"/>
              </a:ext>
            </a:extLst>
          </p:cNvPr>
          <p:cNvSpPr/>
          <p:nvPr/>
        </p:nvSpPr>
        <p:spPr>
          <a:xfrm>
            <a:off x="10382296" y="929106"/>
            <a:ext cx="1669210" cy="1606629"/>
          </a:xfrm>
          <a:prstGeom prst="rect">
            <a:avLst/>
          </a:prstGeom>
          <a:solidFill>
            <a:schemeClr val="bg1"/>
          </a:solidFill>
          <a:ln>
            <a:solidFill>
              <a:srgbClr val="9D1E27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>
                <a:solidFill>
                  <a:srgbClr val="9D1E27"/>
                </a:solidFill>
              </a:rPr>
              <a:t>87%</a:t>
            </a:r>
            <a:r>
              <a:rPr lang="en-US" sz="1000" b="1">
                <a:solidFill>
                  <a:schemeClr val="tx1"/>
                </a:solidFill>
              </a:rPr>
              <a:t> </a:t>
            </a:r>
            <a:r>
              <a:rPr lang="en-US" sz="1000">
                <a:solidFill>
                  <a:schemeClr val="tx1"/>
                </a:solidFill>
              </a:rPr>
              <a:t>of online Indian adults say they want to do all their </a:t>
            </a:r>
            <a:r>
              <a:rPr lang="en-US" sz="1000" b="1">
                <a:solidFill>
                  <a:srgbClr val="9D1E27"/>
                </a:solidFill>
              </a:rPr>
              <a:t>banking via smartphone</a:t>
            </a:r>
            <a:r>
              <a:rPr lang="en-US" sz="1000" b="1">
                <a:solidFill>
                  <a:schemeClr val="tx1"/>
                </a:solidFill>
              </a:rPr>
              <a:t> - </a:t>
            </a:r>
            <a:r>
              <a:rPr lang="en-US" sz="1000" i="1">
                <a:solidFill>
                  <a:schemeClr val="tx1"/>
                </a:solidFill>
              </a:rPr>
              <a:t>the highest in the Asia-Pacific region</a:t>
            </a:r>
            <a:r>
              <a:rPr lang="en-US" sz="1000">
                <a:solidFill>
                  <a:schemeClr val="tx1"/>
                </a:solidFill>
              </a:rPr>
              <a:t>. </a:t>
            </a:r>
            <a:r>
              <a:rPr lang="en-US" sz="1000">
                <a:solidFill>
                  <a:schemeClr val="tx1"/>
                </a:solidFill>
                <a:hlinkClick r:id="rId17"/>
              </a:rPr>
              <a:t>Forrester</a:t>
            </a:r>
            <a:endParaRPr lang="en-US" sz="1000">
              <a:solidFill>
                <a:schemeClr val="tx1"/>
              </a:solidFill>
            </a:endParaRPr>
          </a:p>
          <a:p>
            <a:endParaRPr lang="en-US" sz="300">
              <a:solidFill>
                <a:schemeClr val="tx1"/>
              </a:solidFill>
            </a:endParaRPr>
          </a:p>
          <a:p>
            <a:r>
              <a:rPr lang="en-US" sz="1000">
                <a:solidFill>
                  <a:schemeClr val="tx1"/>
                </a:solidFill>
              </a:rPr>
              <a:t>“Many Indian banking apps </a:t>
            </a:r>
            <a:r>
              <a:rPr lang="en-US" sz="1000" b="1">
                <a:solidFill>
                  <a:srgbClr val="9D1E27"/>
                </a:solidFill>
              </a:rPr>
              <a:t>still lack personalized financial tools</a:t>
            </a:r>
            <a:r>
              <a:rPr lang="en-US" sz="1000">
                <a:solidFill>
                  <a:schemeClr val="tx1"/>
                </a:solidFill>
              </a:rPr>
              <a:t> like budgeting and spending analysis”</a:t>
            </a:r>
          </a:p>
        </p:txBody>
      </p:sp>
      <p:sp>
        <p:nvSpPr>
          <p:cNvPr id="1069" name="Arrow: Chevron 10">
            <a:extLst>
              <a:ext uri="{FF2B5EF4-FFF2-40B4-BE49-F238E27FC236}">
                <a16:creationId xmlns:a16="http://schemas.microsoft.com/office/drawing/2014/main" id="{C0184DBF-99B3-AB99-1F6E-05BC927110B4}"/>
              </a:ext>
            </a:extLst>
          </p:cNvPr>
          <p:cNvSpPr/>
          <p:nvPr/>
        </p:nvSpPr>
        <p:spPr>
          <a:xfrm>
            <a:off x="7172325" y="642984"/>
            <a:ext cx="4907756" cy="252000"/>
          </a:xfrm>
          <a:prstGeom prst="chevron">
            <a:avLst>
              <a:gd name="adj" fmla="val 34868"/>
            </a:avLst>
          </a:prstGeom>
          <a:solidFill>
            <a:srgbClr val="9D1E27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>
              <a:lnSpc>
                <a:spcPct val="90000"/>
              </a:lnSpc>
              <a:spcBef>
                <a:spcPct val="0"/>
              </a:spcBef>
            </a:pPr>
            <a:r>
              <a:rPr lang="en-US" sz="1400" b="1" i="1"/>
              <a:t>Secondary Research Insights</a:t>
            </a:r>
            <a:endParaRPr lang="en-IN" sz="1400" b="1" i="1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pic>
        <p:nvPicPr>
          <p:cNvPr id="1070" name="Picture 1069">
            <a:extLst>
              <a:ext uri="{FF2B5EF4-FFF2-40B4-BE49-F238E27FC236}">
                <a16:creationId xmlns:a16="http://schemas.microsoft.com/office/drawing/2014/main" id="{3A94613E-0BDB-AB88-A2FC-09BB2CAF642E}"/>
              </a:ext>
            </a:extLst>
          </p:cNvPr>
          <p:cNvPicPr>
            <a:picLocks noChangeAspect="1"/>
          </p:cNvPicPr>
          <p:nvPr/>
        </p:nvPicPr>
        <p:blipFill>
          <a:blip r:embed="rId18"/>
          <a:srcRect l="3100" t="20868" r="5720" b="13626"/>
          <a:stretch>
            <a:fillRect/>
          </a:stretch>
        </p:blipFill>
        <p:spPr>
          <a:xfrm>
            <a:off x="7034919" y="1047308"/>
            <a:ext cx="3259080" cy="1472194"/>
          </a:xfrm>
          <a:prstGeom prst="rect">
            <a:avLst/>
          </a:prstGeom>
        </p:spPr>
      </p:pic>
      <p:pic>
        <p:nvPicPr>
          <p:cNvPr id="1073" name="Picture 12" descr="YONO SBI: Banking &amp; Lifestyle – Apps on Google Play">
            <a:extLst>
              <a:ext uri="{FF2B5EF4-FFF2-40B4-BE49-F238E27FC236}">
                <a16:creationId xmlns:a16="http://schemas.microsoft.com/office/drawing/2014/main" id="{B8E110F3-24A7-CCF7-6B27-BB8CB2D4FB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7516" y="2162425"/>
            <a:ext cx="226495" cy="226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91" name="Straight Arrow Connector 1090">
            <a:extLst>
              <a:ext uri="{FF2B5EF4-FFF2-40B4-BE49-F238E27FC236}">
                <a16:creationId xmlns:a16="http://schemas.microsoft.com/office/drawing/2014/main" id="{90900CB7-051B-1555-FB8B-58865DBB47B6}"/>
              </a:ext>
            </a:extLst>
          </p:cNvPr>
          <p:cNvCxnSpPr>
            <a:cxnSpLocks/>
            <a:stCxn id="1089" idx="7"/>
            <a:endCxn id="1093" idx="1"/>
          </p:cNvCxnSpPr>
          <p:nvPr/>
        </p:nvCxnSpPr>
        <p:spPr>
          <a:xfrm flipV="1">
            <a:off x="3053017" y="3157090"/>
            <a:ext cx="829471" cy="598173"/>
          </a:xfrm>
          <a:prstGeom prst="straightConnector1">
            <a:avLst/>
          </a:prstGeom>
          <a:ln>
            <a:solidFill>
              <a:srgbClr val="01563F"/>
            </a:solidFill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93" name="Picture 1092">
            <a:extLst>
              <a:ext uri="{FF2B5EF4-FFF2-40B4-BE49-F238E27FC236}">
                <a16:creationId xmlns:a16="http://schemas.microsoft.com/office/drawing/2014/main" id="{9AE235F7-F832-09B9-4AF4-31E84F79D5D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882488" y="2992097"/>
            <a:ext cx="363149" cy="329985"/>
          </a:xfrm>
          <a:prstGeom prst="rect">
            <a:avLst/>
          </a:prstGeom>
        </p:spPr>
      </p:pic>
      <p:grpSp>
        <p:nvGrpSpPr>
          <p:cNvPr id="1045" name="Group 1044">
            <a:extLst>
              <a:ext uri="{FF2B5EF4-FFF2-40B4-BE49-F238E27FC236}">
                <a16:creationId xmlns:a16="http://schemas.microsoft.com/office/drawing/2014/main" id="{D4577C9B-21ED-B08F-3CAA-AF6BB39138C0}"/>
              </a:ext>
            </a:extLst>
          </p:cNvPr>
          <p:cNvGrpSpPr/>
          <p:nvPr/>
        </p:nvGrpSpPr>
        <p:grpSpPr>
          <a:xfrm>
            <a:off x="361280" y="4927915"/>
            <a:ext cx="4483826" cy="180000"/>
            <a:chOff x="488905" y="4927915"/>
            <a:chExt cx="4483826" cy="180000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2D2EFD45-7833-86EE-4B7F-C3BCFD35DCB0}"/>
                </a:ext>
              </a:extLst>
            </p:cNvPr>
            <p:cNvSpPr/>
            <p:nvPr/>
          </p:nvSpPr>
          <p:spPr>
            <a:xfrm>
              <a:off x="1863289" y="4935435"/>
              <a:ext cx="3109442" cy="164960"/>
            </a:xfrm>
            <a:custGeom>
              <a:avLst/>
              <a:gdLst>
                <a:gd name="connsiteX0" fmla="*/ 22532 w 135192"/>
                <a:gd name="connsiteY0" fmla="*/ 0 h 2759471"/>
                <a:gd name="connsiteX1" fmla="*/ 112660 w 135192"/>
                <a:gd name="connsiteY1" fmla="*/ 0 h 2759471"/>
                <a:gd name="connsiteX2" fmla="*/ 135192 w 135192"/>
                <a:gd name="connsiteY2" fmla="*/ 22532 h 2759471"/>
                <a:gd name="connsiteX3" fmla="*/ 135192 w 135192"/>
                <a:gd name="connsiteY3" fmla="*/ 2759471 h 2759471"/>
                <a:gd name="connsiteX4" fmla="*/ 135192 w 135192"/>
                <a:gd name="connsiteY4" fmla="*/ 2759471 h 2759471"/>
                <a:gd name="connsiteX5" fmla="*/ 0 w 135192"/>
                <a:gd name="connsiteY5" fmla="*/ 2759471 h 2759471"/>
                <a:gd name="connsiteX6" fmla="*/ 0 w 135192"/>
                <a:gd name="connsiteY6" fmla="*/ 2759471 h 2759471"/>
                <a:gd name="connsiteX7" fmla="*/ 0 w 135192"/>
                <a:gd name="connsiteY7" fmla="*/ 22532 h 2759471"/>
                <a:gd name="connsiteX8" fmla="*/ 22532 w 135192"/>
                <a:gd name="connsiteY8" fmla="*/ 0 h 2759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192" h="2759471">
                  <a:moveTo>
                    <a:pt x="135192" y="459919"/>
                  </a:moveTo>
                  <a:lnTo>
                    <a:pt x="135192" y="2299552"/>
                  </a:lnTo>
                  <a:cubicBezTo>
                    <a:pt x="135192" y="2553551"/>
                    <a:pt x="134698" y="2759461"/>
                    <a:pt x="134088" y="2759461"/>
                  </a:cubicBezTo>
                  <a:lnTo>
                    <a:pt x="0" y="2759461"/>
                  </a:lnTo>
                  <a:lnTo>
                    <a:pt x="0" y="2759461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34088" y="10"/>
                  </a:lnTo>
                  <a:cubicBezTo>
                    <a:pt x="134698" y="10"/>
                    <a:pt x="135192" y="205920"/>
                    <a:pt x="135192" y="459919"/>
                  </a:cubicBezTo>
                  <a:close/>
                </a:path>
              </a:pathLst>
            </a:custGeom>
            <a:solidFill>
              <a:schemeClr val="bg1">
                <a:alpha val="90000"/>
              </a:schemeClr>
            </a:solidFill>
            <a:ln>
              <a:solidFill>
                <a:srgbClr val="9D1E27">
                  <a:alpha val="90000"/>
                </a:srgb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000" tIns="36000" rIns="36000" bIns="36000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000" kern="1200"/>
                <a:t>Premium feel but extremely limited functionality</a:t>
              </a: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72732509-C121-2606-3B72-3BC2FA6295BB}"/>
                </a:ext>
              </a:extLst>
            </p:cNvPr>
            <p:cNvSpPr/>
            <p:nvPr/>
          </p:nvSpPr>
          <p:spPr>
            <a:xfrm>
              <a:off x="488905" y="4927915"/>
              <a:ext cx="1332000" cy="180000"/>
            </a:xfrm>
            <a:custGeom>
              <a:avLst/>
              <a:gdLst>
                <a:gd name="connsiteX0" fmla="*/ 0 w 1552202"/>
                <a:gd name="connsiteY0" fmla="*/ 28166 h 168990"/>
                <a:gd name="connsiteX1" fmla="*/ 28166 w 1552202"/>
                <a:gd name="connsiteY1" fmla="*/ 0 h 168990"/>
                <a:gd name="connsiteX2" fmla="*/ 1524036 w 1552202"/>
                <a:gd name="connsiteY2" fmla="*/ 0 h 168990"/>
                <a:gd name="connsiteX3" fmla="*/ 1552202 w 1552202"/>
                <a:gd name="connsiteY3" fmla="*/ 28166 h 168990"/>
                <a:gd name="connsiteX4" fmla="*/ 1552202 w 1552202"/>
                <a:gd name="connsiteY4" fmla="*/ 140824 h 168990"/>
                <a:gd name="connsiteX5" fmla="*/ 1524036 w 1552202"/>
                <a:gd name="connsiteY5" fmla="*/ 168990 h 168990"/>
                <a:gd name="connsiteX6" fmla="*/ 28166 w 1552202"/>
                <a:gd name="connsiteY6" fmla="*/ 168990 h 168990"/>
                <a:gd name="connsiteX7" fmla="*/ 0 w 1552202"/>
                <a:gd name="connsiteY7" fmla="*/ 140824 h 168990"/>
                <a:gd name="connsiteX8" fmla="*/ 0 w 1552202"/>
                <a:gd name="connsiteY8" fmla="*/ 28166 h 168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2202" h="168990">
                  <a:moveTo>
                    <a:pt x="0" y="28166"/>
                  </a:moveTo>
                  <a:cubicBezTo>
                    <a:pt x="0" y="12610"/>
                    <a:pt x="12610" y="0"/>
                    <a:pt x="28166" y="0"/>
                  </a:cubicBezTo>
                  <a:lnTo>
                    <a:pt x="1524036" y="0"/>
                  </a:lnTo>
                  <a:cubicBezTo>
                    <a:pt x="1539592" y="0"/>
                    <a:pt x="1552202" y="12610"/>
                    <a:pt x="1552202" y="28166"/>
                  </a:cubicBezTo>
                  <a:lnTo>
                    <a:pt x="1552202" y="140824"/>
                  </a:lnTo>
                  <a:cubicBezTo>
                    <a:pt x="1552202" y="156380"/>
                    <a:pt x="1539592" y="168990"/>
                    <a:pt x="1524036" y="168990"/>
                  </a:cubicBezTo>
                  <a:lnTo>
                    <a:pt x="28166" y="168990"/>
                  </a:lnTo>
                  <a:cubicBezTo>
                    <a:pt x="12610" y="168990"/>
                    <a:pt x="0" y="156380"/>
                    <a:pt x="0" y="140824"/>
                  </a:cubicBezTo>
                  <a:lnTo>
                    <a:pt x="0" y="28166"/>
                  </a:lnTo>
                  <a:close/>
                </a:path>
              </a:pathLst>
            </a:custGeom>
            <a:solidFill>
              <a:srgbClr val="9D1E27"/>
            </a:solidFill>
            <a:ln w="12700"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4919" tIns="21584" rIns="34919" bIns="21584" numCol="1" spcCol="1270" anchor="ctr" anchorCtr="0">
              <a:noAutofit/>
            </a:bodyPr>
            <a:lstStyle/>
            <a:p>
              <a:pPr marL="0" lvl="0" indent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000" b="1" kern="1200"/>
                <a:t>HDFC</a:t>
              </a:r>
              <a:endParaRPr lang="en-IN" sz="1000" kern="1200"/>
            </a:p>
          </p:txBody>
        </p:sp>
      </p:grpSp>
      <p:grpSp>
        <p:nvGrpSpPr>
          <p:cNvPr id="1043" name="Group 1042">
            <a:extLst>
              <a:ext uri="{FF2B5EF4-FFF2-40B4-BE49-F238E27FC236}">
                <a16:creationId xmlns:a16="http://schemas.microsoft.com/office/drawing/2014/main" id="{1EB6AF6B-B03D-8367-1F72-8347AC6573FC}"/>
              </a:ext>
            </a:extLst>
          </p:cNvPr>
          <p:cNvGrpSpPr/>
          <p:nvPr/>
        </p:nvGrpSpPr>
        <p:grpSpPr>
          <a:xfrm>
            <a:off x="364624" y="5151160"/>
            <a:ext cx="4477138" cy="180000"/>
            <a:chOff x="495593" y="5179036"/>
            <a:chExt cx="4477138" cy="180000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60DC6C7-501C-27B3-CC02-B5375BCA6474}"/>
                </a:ext>
              </a:extLst>
            </p:cNvPr>
            <p:cNvSpPr/>
            <p:nvPr/>
          </p:nvSpPr>
          <p:spPr>
            <a:xfrm>
              <a:off x="1863289" y="5186556"/>
              <a:ext cx="3109442" cy="164960"/>
            </a:xfrm>
            <a:custGeom>
              <a:avLst/>
              <a:gdLst>
                <a:gd name="connsiteX0" fmla="*/ 22532 w 135192"/>
                <a:gd name="connsiteY0" fmla="*/ 0 h 2759471"/>
                <a:gd name="connsiteX1" fmla="*/ 112660 w 135192"/>
                <a:gd name="connsiteY1" fmla="*/ 0 h 2759471"/>
                <a:gd name="connsiteX2" fmla="*/ 135192 w 135192"/>
                <a:gd name="connsiteY2" fmla="*/ 22532 h 2759471"/>
                <a:gd name="connsiteX3" fmla="*/ 135192 w 135192"/>
                <a:gd name="connsiteY3" fmla="*/ 2759471 h 2759471"/>
                <a:gd name="connsiteX4" fmla="*/ 135192 w 135192"/>
                <a:gd name="connsiteY4" fmla="*/ 2759471 h 2759471"/>
                <a:gd name="connsiteX5" fmla="*/ 0 w 135192"/>
                <a:gd name="connsiteY5" fmla="*/ 2759471 h 2759471"/>
                <a:gd name="connsiteX6" fmla="*/ 0 w 135192"/>
                <a:gd name="connsiteY6" fmla="*/ 2759471 h 2759471"/>
                <a:gd name="connsiteX7" fmla="*/ 0 w 135192"/>
                <a:gd name="connsiteY7" fmla="*/ 22532 h 2759471"/>
                <a:gd name="connsiteX8" fmla="*/ 22532 w 135192"/>
                <a:gd name="connsiteY8" fmla="*/ 0 h 2759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192" h="2759471">
                  <a:moveTo>
                    <a:pt x="135192" y="459919"/>
                  </a:moveTo>
                  <a:lnTo>
                    <a:pt x="135192" y="2299552"/>
                  </a:lnTo>
                  <a:cubicBezTo>
                    <a:pt x="135192" y="2553551"/>
                    <a:pt x="134698" y="2759461"/>
                    <a:pt x="134088" y="2759461"/>
                  </a:cubicBezTo>
                  <a:lnTo>
                    <a:pt x="0" y="2759461"/>
                  </a:lnTo>
                  <a:lnTo>
                    <a:pt x="0" y="2759461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34088" y="10"/>
                  </a:lnTo>
                  <a:cubicBezTo>
                    <a:pt x="134698" y="10"/>
                    <a:pt x="135192" y="205920"/>
                    <a:pt x="135192" y="459919"/>
                  </a:cubicBezTo>
                  <a:close/>
                </a:path>
              </a:pathLst>
            </a:custGeom>
            <a:solidFill>
              <a:schemeClr val="bg1">
                <a:alpha val="90000"/>
              </a:schemeClr>
            </a:solidFill>
            <a:ln>
              <a:solidFill>
                <a:srgbClr val="9D1E27">
                  <a:alpha val="90000"/>
                </a:srgb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000" tIns="36000" rIns="36000" bIns="36000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000" kern="1200"/>
                <a:t>Strong integration, weaker on rewards/personalization</a:t>
              </a: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C266BDF0-6895-06CE-AFCC-5FB2F96B397B}"/>
                </a:ext>
              </a:extLst>
            </p:cNvPr>
            <p:cNvSpPr/>
            <p:nvPr/>
          </p:nvSpPr>
          <p:spPr>
            <a:xfrm>
              <a:off x="495593" y="5179036"/>
              <a:ext cx="1332000" cy="180000"/>
            </a:xfrm>
            <a:custGeom>
              <a:avLst/>
              <a:gdLst>
                <a:gd name="connsiteX0" fmla="*/ 0 w 1552202"/>
                <a:gd name="connsiteY0" fmla="*/ 28166 h 168990"/>
                <a:gd name="connsiteX1" fmla="*/ 28166 w 1552202"/>
                <a:gd name="connsiteY1" fmla="*/ 0 h 168990"/>
                <a:gd name="connsiteX2" fmla="*/ 1524036 w 1552202"/>
                <a:gd name="connsiteY2" fmla="*/ 0 h 168990"/>
                <a:gd name="connsiteX3" fmla="*/ 1552202 w 1552202"/>
                <a:gd name="connsiteY3" fmla="*/ 28166 h 168990"/>
                <a:gd name="connsiteX4" fmla="*/ 1552202 w 1552202"/>
                <a:gd name="connsiteY4" fmla="*/ 140824 h 168990"/>
                <a:gd name="connsiteX5" fmla="*/ 1524036 w 1552202"/>
                <a:gd name="connsiteY5" fmla="*/ 168990 h 168990"/>
                <a:gd name="connsiteX6" fmla="*/ 28166 w 1552202"/>
                <a:gd name="connsiteY6" fmla="*/ 168990 h 168990"/>
                <a:gd name="connsiteX7" fmla="*/ 0 w 1552202"/>
                <a:gd name="connsiteY7" fmla="*/ 140824 h 168990"/>
                <a:gd name="connsiteX8" fmla="*/ 0 w 1552202"/>
                <a:gd name="connsiteY8" fmla="*/ 28166 h 168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2202" h="168990">
                  <a:moveTo>
                    <a:pt x="0" y="28166"/>
                  </a:moveTo>
                  <a:cubicBezTo>
                    <a:pt x="0" y="12610"/>
                    <a:pt x="12610" y="0"/>
                    <a:pt x="28166" y="0"/>
                  </a:cubicBezTo>
                  <a:lnTo>
                    <a:pt x="1524036" y="0"/>
                  </a:lnTo>
                  <a:cubicBezTo>
                    <a:pt x="1539592" y="0"/>
                    <a:pt x="1552202" y="12610"/>
                    <a:pt x="1552202" y="28166"/>
                  </a:cubicBezTo>
                  <a:lnTo>
                    <a:pt x="1552202" y="140824"/>
                  </a:lnTo>
                  <a:cubicBezTo>
                    <a:pt x="1552202" y="156380"/>
                    <a:pt x="1539592" y="168990"/>
                    <a:pt x="1524036" y="168990"/>
                  </a:cubicBezTo>
                  <a:lnTo>
                    <a:pt x="28166" y="168990"/>
                  </a:lnTo>
                  <a:cubicBezTo>
                    <a:pt x="12610" y="168990"/>
                    <a:pt x="0" y="156380"/>
                    <a:pt x="0" y="140824"/>
                  </a:cubicBezTo>
                  <a:lnTo>
                    <a:pt x="0" y="28166"/>
                  </a:lnTo>
                  <a:close/>
                </a:path>
              </a:pathLst>
            </a:custGeom>
            <a:solidFill>
              <a:srgbClr val="9D1E27"/>
            </a:solidFill>
            <a:ln w="12700"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4919" tIns="21584" rIns="34919" bIns="21584" numCol="1" spcCol="1270" anchor="ctr" anchorCtr="0">
              <a:noAutofit/>
            </a:bodyPr>
            <a:lstStyle/>
            <a:p>
              <a:pPr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000" b="1"/>
                <a:t>ICICI</a:t>
              </a:r>
            </a:p>
          </p:txBody>
        </p:sp>
      </p:grpSp>
      <p:grpSp>
        <p:nvGrpSpPr>
          <p:cNvPr id="1042" name="Group 1041">
            <a:extLst>
              <a:ext uri="{FF2B5EF4-FFF2-40B4-BE49-F238E27FC236}">
                <a16:creationId xmlns:a16="http://schemas.microsoft.com/office/drawing/2014/main" id="{7E6932E2-C7E5-3527-456D-8C192E9D9C6E}"/>
              </a:ext>
            </a:extLst>
          </p:cNvPr>
          <p:cNvGrpSpPr/>
          <p:nvPr/>
        </p:nvGrpSpPr>
        <p:grpSpPr>
          <a:xfrm>
            <a:off x="364624" y="5374405"/>
            <a:ext cx="4477138" cy="180000"/>
            <a:chOff x="495593" y="5356477"/>
            <a:chExt cx="4477138" cy="180000"/>
          </a:xfrm>
        </p:grpSpPr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1D0B33DC-28C8-7E1C-EDE1-202B0DD576B5}"/>
                </a:ext>
              </a:extLst>
            </p:cNvPr>
            <p:cNvSpPr/>
            <p:nvPr/>
          </p:nvSpPr>
          <p:spPr>
            <a:xfrm>
              <a:off x="1863289" y="5363997"/>
              <a:ext cx="3109442" cy="164960"/>
            </a:xfrm>
            <a:custGeom>
              <a:avLst/>
              <a:gdLst>
                <a:gd name="connsiteX0" fmla="*/ 22532 w 135192"/>
                <a:gd name="connsiteY0" fmla="*/ 0 h 2759471"/>
                <a:gd name="connsiteX1" fmla="*/ 112660 w 135192"/>
                <a:gd name="connsiteY1" fmla="*/ 0 h 2759471"/>
                <a:gd name="connsiteX2" fmla="*/ 135192 w 135192"/>
                <a:gd name="connsiteY2" fmla="*/ 22532 h 2759471"/>
                <a:gd name="connsiteX3" fmla="*/ 135192 w 135192"/>
                <a:gd name="connsiteY3" fmla="*/ 2759471 h 2759471"/>
                <a:gd name="connsiteX4" fmla="*/ 135192 w 135192"/>
                <a:gd name="connsiteY4" fmla="*/ 2759471 h 2759471"/>
                <a:gd name="connsiteX5" fmla="*/ 0 w 135192"/>
                <a:gd name="connsiteY5" fmla="*/ 2759471 h 2759471"/>
                <a:gd name="connsiteX6" fmla="*/ 0 w 135192"/>
                <a:gd name="connsiteY6" fmla="*/ 2759471 h 2759471"/>
                <a:gd name="connsiteX7" fmla="*/ 0 w 135192"/>
                <a:gd name="connsiteY7" fmla="*/ 22532 h 2759471"/>
                <a:gd name="connsiteX8" fmla="*/ 22532 w 135192"/>
                <a:gd name="connsiteY8" fmla="*/ 0 h 2759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192" h="2759471">
                  <a:moveTo>
                    <a:pt x="135192" y="459919"/>
                  </a:moveTo>
                  <a:lnTo>
                    <a:pt x="135192" y="2299552"/>
                  </a:lnTo>
                  <a:cubicBezTo>
                    <a:pt x="135192" y="2553551"/>
                    <a:pt x="134698" y="2759461"/>
                    <a:pt x="134088" y="2759461"/>
                  </a:cubicBezTo>
                  <a:lnTo>
                    <a:pt x="0" y="2759461"/>
                  </a:lnTo>
                  <a:lnTo>
                    <a:pt x="0" y="2759461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34088" y="10"/>
                  </a:lnTo>
                  <a:cubicBezTo>
                    <a:pt x="134698" y="10"/>
                    <a:pt x="135192" y="205920"/>
                    <a:pt x="135192" y="459919"/>
                  </a:cubicBezTo>
                  <a:close/>
                </a:path>
              </a:pathLst>
            </a:custGeom>
            <a:solidFill>
              <a:schemeClr val="bg1">
                <a:alpha val="90000"/>
              </a:schemeClr>
            </a:solidFill>
            <a:ln>
              <a:solidFill>
                <a:srgbClr val="9D1E27">
                  <a:alpha val="90000"/>
                </a:srgb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000" tIns="36000" rIns="36000" bIns="36000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None/>
              </a:pPr>
              <a:r>
                <a:rPr lang="en-IN" sz="1000" kern="1200"/>
                <a:t>Broad ecosystem, poor UI/UX &amp; navigation.</a:t>
              </a:r>
            </a:p>
          </p:txBody>
        </p:sp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1C8F5878-8516-C0C5-F917-F583A4FB5230}"/>
                </a:ext>
              </a:extLst>
            </p:cNvPr>
            <p:cNvSpPr/>
            <p:nvPr/>
          </p:nvSpPr>
          <p:spPr>
            <a:xfrm>
              <a:off x="495593" y="5356477"/>
              <a:ext cx="1332000" cy="180000"/>
            </a:xfrm>
            <a:custGeom>
              <a:avLst/>
              <a:gdLst>
                <a:gd name="connsiteX0" fmla="*/ 0 w 1552202"/>
                <a:gd name="connsiteY0" fmla="*/ 28166 h 168990"/>
                <a:gd name="connsiteX1" fmla="*/ 28166 w 1552202"/>
                <a:gd name="connsiteY1" fmla="*/ 0 h 168990"/>
                <a:gd name="connsiteX2" fmla="*/ 1524036 w 1552202"/>
                <a:gd name="connsiteY2" fmla="*/ 0 h 168990"/>
                <a:gd name="connsiteX3" fmla="*/ 1552202 w 1552202"/>
                <a:gd name="connsiteY3" fmla="*/ 28166 h 168990"/>
                <a:gd name="connsiteX4" fmla="*/ 1552202 w 1552202"/>
                <a:gd name="connsiteY4" fmla="*/ 140824 h 168990"/>
                <a:gd name="connsiteX5" fmla="*/ 1524036 w 1552202"/>
                <a:gd name="connsiteY5" fmla="*/ 168990 h 168990"/>
                <a:gd name="connsiteX6" fmla="*/ 28166 w 1552202"/>
                <a:gd name="connsiteY6" fmla="*/ 168990 h 168990"/>
                <a:gd name="connsiteX7" fmla="*/ 0 w 1552202"/>
                <a:gd name="connsiteY7" fmla="*/ 140824 h 168990"/>
                <a:gd name="connsiteX8" fmla="*/ 0 w 1552202"/>
                <a:gd name="connsiteY8" fmla="*/ 28166 h 168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2202" h="168990">
                  <a:moveTo>
                    <a:pt x="0" y="28166"/>
                  </a:moveTo>
                  <a:cubicBezTo>
                    <a:pt x="0" y="12610"/>
                    <a:pt x="12610" y="0"/>
                    <a:pt x="28166" y="0"/>
                  </a:cubicBezTo>
                  <a:lnTo>
                    <a:pt x="1524036" y="0"/>
                  </a:lnTo>
                  <a:cubicBezTo>
                    <a:pt x="1539592" y="0"/>
                    <a:pt x="1552202" y="12610"/>
                    <a:pt x="1552202" y="28166"/>
                  </a:cubicBezTo>
                  <a:lnTo>
                    <a:pt x="1552202" y="140824"/>
                  </a:lnTo>
                  <a:cubicBezTo>
                    <a:pt x="1552202" y="156380"/>
                    <a:pt x="1539592" y="168990"/>
                    <a:pt x="1524036" y="168990"/>
                  </a:cubicBezTo>
                  <a:lnTo>
                    <a:pt x="28166" y="168990"/>
                  </a:lnTo>
                  <a:cubicBezTo>
                    <a:pt x="12610" y="168990"/>
                    <a:pt x="0" y="156380"/>
                    <a:pt x="0" y="140824"/>
                  </a:cubicBezTo>
                  <a:lnTo>
                    <a:pt x="0" y="28166"/>
                  </a:lnTo>
                  <a:close/>
                </a:path>
              </a:pathLst>
            </a:custGeom>
            <a:solidFill>
              <a:srgbClr val="9D1E27"/>
            </a:solidFill>
            <a:ln w="12700"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4919" tIns="21584" rIns="34919" bIns="21584" numCol="1" spcCol="1270" anchor="ctr" anchorCtr="0">
              <a:noAutofit/>
            </a:bodyPr>
            <a:lstStyle/>
            <a:p>
              <a:pPr marL="0" lvl="0" indent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000" b="1" kern="1200"/>
                <a:t>SBI (YONO)</a:t>
              </a:r>
              <a:endParaRPr lang="en-IN" sz="1000" kern="1200"/>
            </a:p>
          </p:txBody>
        </p:sp>
      </p:grpSp>
      <p:grpSp>
        <p:nvGrpSpPr>
          <p:cNvPr id="1046" name="Group 1045">
            <a:extLst>
              <a:ext uri="{FF2B5EF4-FFF2-40B4-BE49-F238E27FC236}">
                <a16:creationId xmlns:a16="http://schemas.microsoft.com/office/drawing/2014/main" id="{630AFB14-EB82-AE89-E4AA-E6EC08F8E827}"/>
              </a:ext>
            </a:extLst>
          </p:cNvPr>
          <p:cNvGrpSpPr/>
          <p:nvPr/>
        </p:nvGrpSpPr>
        <p:grpSpPr>
          <a:xfrm>
            <a:off x="364624" y="5597650"/>
            <a:ext cx="4462849" cy="180000"/>
            <a:chOff x="495593" y="5533917"/>
            <a:chExt cx="4462849" cy="180000"/>
          </a:xfrm>
        </p:grpSpPr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D7D4970E-10AE-076C-65F1-D5A854E8FF98}"/>
                </a:ext>
              </a:extLst>
            </p:cNvPr>
            <p:cNvSpPr/>
            <p:nvPr/>
          </p:nvSpPr>
          <p:spPr>
            <a:xfrm>
              <a:off x="1849000" y="5541437"/>
              <a:ext cx="3109442" cy="164960"/>
            </a:xfrm>
            <a:custGeom>
              <a:avLst/>
              <a:gdLst>
                <a:gd name="connsiteX0" fmla="*/ 22532 w 135192"/>
                <a:gd name="connsiteY0" fmla="*/ 0 h 2759471"/>
                <a:gd name="connsiteX1" fmla="*/ 112660 w 135192"/>
                <a:gd name="connsiteY1" fmla="*/ 0 h 2759471"/>
                <a:gd name="connsiteX2" fmla="*/ 135192 w 135192"/>
                <a:gd name="connsiteY2" fmla="*/ 22532 h 2759471"/>
                <a:gd name="connsiteX3" fmla="*/ 135192 w 135192"/>
                <a:gd name="connsiteY3" fmla="*/ 2759471 h 2759471"/>
                <a:gd name="connsiteX4" fmla="*/ 135192 w 135192"/>
                <a:gd name="connsiteY4" fmla="*/ 2759471 h 2759471"/>
                <a:gd name="connsiteX5" fmla="*/ 0 w 135192"/>
                <a:gd name="connsiteY5" fmla="*/ 2759471 h 2759471"/>
                <a:gd name="connsiteX6" fmla="*/ 0 w 135192"/>
                <a:gd name="connsiteY6" fmla="*/ 2759471 h 2759471"/>
                <a:gd name="connsiteX7" fmla="*/ 0 w 135192"/>
                <a:gd name="connsiteY7" fmla="*/ 22532 h 2759471"/>
                <a:gd name="connsiteX8" fmla="*/ 22532 w 135192"/>
                <a:gd name="connsiteY8" fmla="*/ 0 h 2759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192" h="2759471">
                  <a:moveTo>
                    <a:pt x="135192" y="459919"/>
                  </a:moveTo>
                  <a:lnTo>
                    <a:pt x="135192" y="2299552"/>
                  </a:lnTo>
                  <a:cubicBezTo>
                    <a:pt x="135192" y="2553551"/>
                    <a:pt x="134698" y="2759461"/>
                    <a:pt x="134088" y="2759461"/>
                  </a:cubicBezTo>
                  <a:lnTo>
                    <a:pt x="0" y="2759461"/>
                  </a:lnTo>
                  <a:lnTo>
                    <a:pt x="0" y="2759461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34088" y="10"/>
                  </a:lnTo>
                  <a:cubicBezTo>
                    <a:pt x="134698" y="10"/>
                    <a:pt x="135192" y="205920"/>
                    <a:pt x="135192" y="459919"/>
                  </a:cubicBezTo>
                  <a:close/>
                </a:path>
              </a:pathLst>
            </a:custGeom>
            <a:solidFill>
              <a:schemeClr val="bg1">
                <a:alpha val="90000"/>
              </a:schemeClr>
            </a:solidFill>
            <a:ln>
              <a:solidFill>
                <a:srgbClr val="9D1E27">
                  <a:alpha val="90000"/>
                </a:srgb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000" tIns="36000" rIns="36000" bIns="36000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None/>
              </a:pPr>
              <a:r>
                <a:rPr lang="en-IN" sz="1000" kern="1200"/>
                <a:t>Smooth UX, but limited advanced tools.</a:t>
              </a:r>
            </a:p>
          </p:txBody>
        </p:sp>
        <p:sp>
          <p:nvSpPr>
            <p:cNvPr id="1038" name="Freeform: Shape 1037">
              <a:extLst>
                <a:ext uri="{FF2B5EF4-FFF2-40B4-BE49-F238E27FC236}">
                  <a16:creationId xmlns:a16="http://schemas.microsoft.com/office/drawing/2014/main" id="{6DEEA4A4-C222-F4F9-CCC3-BE3DA730CE28}"/>
                </a:ext>
              </a:extLst>
            </p:cNvPr>
            <p:cNvSpPr/>
            <p:nvPr/>
          </p:nvSpPr>
          <p:spPr>
            <a:xfrm>
              <a:off x="495593" y="5533917"/>
              <a:ext cx="1332000" cy="180000"/>
            </a:xfrm>
            <a:custGeom>
              <a:avLst/>
              <a:gdLst>
                <a:gd name="connsiteX0" fmla="*/ 0 w 1552202"/>
                <a:gd name="connsiteY0" fmla="*/ 28166 h 168990"/>
                <a:gd name="connsiteX1" fmla="*/ 28166 w 1552202"/>
                <a:gd name="connsiteY1" fmla="*/ 0 h 168990"/>
                <a:gd name="connsiteX2" fmla="*/ 1524036 w 1552202"/>
                <a:gd name="connsiteY2" fmla="*/ 0 h 168990"/>
                <a:gd name="connsiteX3" fmla="*/ 1552202 w 1552202"/>
                <a:gd name="connsiteY3" fmla="*/ 28166 h 168990"/>
                <a:gd name="connsiteX4" fmla="*/ 1552202 w 1552202"/>
                <a:gd name="connsiteY4" fmla="*/ 140824 h 168990"/>
                <a:gd name="connsiteX5" fmla="*/ 1524036 w 1552202"/>
                <a:gd name="connsiteY5" fmla="*/ 168990 h 168990"/>
                <a:gd name="connsiteX6" fmla="*/ 28166 w 1552202"/>
                <a:gd name="connsiteY6" fmla="*/ 168990 h 168990"/>
                <a:gd name="connsiteX7" fmla="*/ 0 w 1552202"/>
                <a:gd name="connsiteY7" fmla="*/ 140824 h 168990"/>
                <a:gd name="connsiteX8" fmla="*/ 0 w 1552202"/>
                <a:gd name="connsiteY8" fmla="*/ 28166 h 168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2202" h="168990">
                  <a:moveTo>
                    <a:pt x="0" y="28166"/>
                  </a:moveTo>
                  <a:cubicBezTo>
                    <a:pt x="0" y="12610"/>
                    <a:pt x="12610" y="0"/>
                    <a:pt x="28166" y="0"/>
                  </a:cubicBezTo>
                  <a:lnTo>
                    <a:pt x="1524036" y="0"/>
                  </a:lnTo>
                  <a:cubicBezTo>
                    <a:pt x="1539592" y="0"/>
                    <a:pt x="1552202" y="12610"/>
                    <a:pt x="1552202" y="28166"/>
                  </a:cubicBezTo>
                  <a:lnTo>
                    <a:pt x="1552202" y="140824"/>
                  </a:lnTo>
                  <a:cubicBezTo>
                    <a:pt x="1552202" y="156380"/>
                    <a:pt x="1539592" y="168990"/>
                    <a:pt x="1524036" y="168990"/>
                  </a:cubicBezTo>
                  <a:lnTo>
                    <a:pt x="28166" y="168990"/>
                  </a:lnTo>
                  <a:cubicBezTo>
                    <a:pt x="12610" y="168990"/>
                    <a:pt x="0" y="156380"/>
                    <a:pt x="0" y="140824"/>
                  </a:cubicBezTo>
                  <a:lnTo>
                    <a:pt x="0" y="28166"/>
                  </a:lnTo>
                  <a:close/>
                </a:path>
              </a:pathLst>
            </a:custGeom>
            <a:solidFill>
              <a:srgbClr val="9D1E27"/>
            </a:solidFill>
            <a:ln w="12700"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4919" tIns="21584" rIns="34919" bIns="21584" numCol="1" spcCol="1270" anchor="ctr" anchorCtr="0">
              <a:noAutofit/>
            </a:bodyPr>
            <a:lstStyle/>
            <a:p>
              <a:pPr marL="0" lvl="0" indent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000" b="1" kern="1200"/>
                <a:t>Kotak</a:t>
              </a:r>
              <a:endParaRPr lang="en-IN" sz="1000" kern="1200"/>
            </a:p>
          </p:txBody>
        </p:sp>
      </p:grpSp>
      <p:grpSp>
        <p:nvGrpSpPr>
          <p:cNvPr id="1047" name="Group 1046">
            <a:extLst>
              <a:ext uri="{FF2B5EF4-FFF2-40B4-BE49-F238E27FC236}">
                <a16:creationId xmlns:a16="http://schemas.microsoft.com/office/drawing/2014/main" id="{12B7A1BF-A74A-CA79-72DD-024A7011B5C3}"/>
              </a:ext>
            </a:extLst>
          </p:cNvPr>
          <p:cNvGrpSpPr/>
          <p:nvPr/>
        </p:nvGrpSpPr>
        <p:grpSpPr>
          <a:xfrm>
            <a:off x="364624" y="5820894"/>
            <a:ext cx="4477138" cy="180000"/>
            <a:chOff x="495593" y="5711357"/>
            <a:chExt cx="4477138" cy="180000"/>
          </a:xfrm>
        </p:grpSpPr>
        <p:sp>
          <p:nvSpPr>
            <p:cNvPr id="1039" name="Freeform: Shape 1038">
              <a:extLst>
                <a:ext uri="{FF2B5EF4-FFF2-40B4-BE49-F238E27FC236}">
                  <a16:creationId xmlns:a16="http://schemas.microsoft.com/office/drawing/2014/main" id="{9F62DB48-028E-26E1-E479-0847A7F2E2AC}"/>
                </a:ext>
              </a:extLst>
            </p:cNvPr>
            <p:cNvSpPr/>
            <p:nvPr/>
          </p:nvSpPr>
          <p:spPr>
            <a:xfrm>
              <a:off x="1863289" y="5718877"/>
              <a:ext cx="3109442" cy="164960"/>
            </a:xfrm>
            <a:custGeom>
              <a:avLst/>
              <a:gdLst>
                <a:gd name="connsiteX0" fmla="*/ 22532 w 135192"/>
                <a:gd name="connsiteY0" fmla="*/ 0 h 2759471"/>
                <a:gd name="connsiteX1" fmla="*/ 112660 w 135192"/>
                <a:gd name="connsiteY1" fmla="*/ 0 h 2759471"/>
                <a:gd name="connsiteX2" fmla="*/ 135192 w 135192"/>
                <a:gd name="connsiteY2" fmla="*/ 22532 h 2759471"/>
                <a:gd name="connsiteX3" fmla="*/ 135192 w 135192"/>
                <a:gd name="connsiteY3" fmla="*/ 2759471 h 2759471"/>
                <a:gd name="connsiteX4" fmla="*/ 135192 w 135192"/>
                <a:gd name="connsiteY4" fmla="*/ 2759471 h 2759471"/>
                <a:gd name="connsiteX5" fmla="*/ 0 w 135192"/>
                <a:gd name="connsiteY5" fmla="*/ 2759471 h 2759471"/>
                <a:gd name="connsiteX6" fmla="*/ 0 w 135192"/>
                <a:gd name="connsiteY6" fmla="*/ 2759471 h 2759471"/>
                <a:gd name="connsiteX7" fmla="*/ 0 w 135192"/>
                <a:gd name="connsiteY7" fmla="*/ 22532 h 2759471"/>
                <a:gd name="connsiteX8" fmla="*/ 22532 w 135192"/>
                <a:gd name="connsiteY8" fmla="*/ 0 h 2759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192" h="2759471">
                  <a:moveTo>
                    <a:pt x="135192" y="459919"/>
                  </a:moveTo>
                  <a:lnTo>
                    <a:pt x="135192" y="2299552"/>
                  </a:lnTo>
                  <a:cubicBezTo>
                    <a:pt x="135192" y="2553551"/>
                    <a:pt x="134698" y="2759461"/>
                    <a:pt x="134088" y="2759461"/>
                  </a:cubicBezTo>
                  <a:lnTo>
                    <a:pt x="0" y="2759461"/>
                  </a:lnTo>
                  <a:lnTo>
                    <a:pt x="0" y="2759461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34088" y="10"/>
                  </a:lnTo>
                  <a:cubicBezTo>
                    <a:pt x="134698" y="10"/>
                    <a:pt x="135192" y="205920"/>
                    <a:pt x="135192" y="459919"/>
                  </a:cubicBezTo>
                  <a:close/>
                </a:path>
              </a:pathLst>
            </a:custGeom>
            <a:solidFill>
              <a:schemeClr val="bg1">
                <a:alpha val="90000"/>
              </a:schemeClr>
            </a:solidFill>
            <a:ln>
              <a:solidFill>
                <a:srgbClr val="9D1E27">
                  <a:alpha val="90000"/>
                </a:srgb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000" tIns="36000" rIns="36000" bIns="36000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000" kern="1200"/>
                <a:t>Balanced app, lacks clear differentiation.</a:t>
              </a:r>
            </a:p>
          </p:txBody>
        </p:sp>
        <p:sp>
          <p:nvSpPr>
            <p:cNvPr id="1041" name="Freeform: Shape 1040">
              <a:extLst>
                <a:ext uri="{FF2B5EF4-FFF2-40B4-BE49-F238E27FC236}">
                  <a16:creationId xmlns:a16="http://schemas.microsoft.com/office/drawing/2014/main" id="{C306ED90-434F-50D1-B676-B2D246151C5C}"/>
                </a:ext>
              </a:extLst>
            </p:cNvPr>
            <p:cNvSpPr/>
            <p:nvPr/>
          </p:nvSpPr>
          <p:spPr>
            <a:xfrm>
              <a:off x="495593" y="5711357"/>
              <a:ext cx="1332000" cy="180000"/>
            </a:xfrm>
            <a:custGeom>
              <a:avLst/>
              <a:gdLst>
                <a:gd name="connsiteX0" fmla="*/ 0 w 1552202"/>
                <a:gd name="connsiteY0" fmla="*/ 28166 h 168990"/>
                <a:gd name="connsiteX1" fmla="*/ 28166 w 1552202"/>
                <a:gd name="connsiteY1" fmla="*/ 0 h 168990"/>
                <a:gd name="connsiteX2" fmla="*/ 1524036 w 1552202"/>
                <a:gd name="connsiteY2" fmla="*/ 0 h 168990"/>
                <a:gd name="connsiteX3" fmla="*/ 1552202 w 1552202"/>
                <a:gd name="connsiteY3" fmla="*/ 28166 h 168990"/>
                <a:gd name="connsiteX4" fmla="*/ 1552202 w 1552202"/>
                <a:gd name="connsiteY4" fmla="*/ 140824 h 168990"/>
                <a:gd name="connsiteX5" fmla="*/ 1524036 w 1552202"/>
                <a:gd name="connsiteY5" fmla="*/ 168990 h 168990"/>
                <a:gd name="connsiteX6" fmla="*/ 28166 w 1552202"/>
                <a:gd name="connsiteY6" fmla="*/ 168990 h 168990"/>
                <a:gd name="connsiteX7" fmla="*/ 0 w 1552202"/>
                <a:gd name="connsiteY7" fmla="*/ 140824 h 168990"/>
                <a:gd name="connsiteX8" fmla="*/ 0 w 1552202"/>
                <a:gd name="connsiteY8" fmla="*/ 28166 h 168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2202" h="168990">
                  <a:moveTo>
                    <a:pt x="0" y="28166"/>
                  </a:moveTo>
                  <a:cubicBezTo>
                    <a:pt x="0" y="12610"/>
                    <a:pt x="12610" y="0"/>
                    <a:pt x="28166" y="0"/>
                  </a:cubicBezTo>
                  <a:lnTo>
                    <a:pt x="1524036" y="0"/>
                  </a:lnTo>
                  <a:cubicBezTo>
                    <a:pt x="1539592" y="0"/>
                    <a:pt x="1552202" y="12610"/>
                    <a:pt x="1552202" y="28166"/>
                  </a:cubicBezTo>
                  <a:lnTo>
                    <a:pt x="1552202" y="140824"/>
                  </a:lnTo>
                  <a:cubicBezTo>
                    <a:pt x="1552202" y="156380"/>
                    <a:pt x="1539592" y="168990"/>
                    <a:pt x="1524036" y="168990"/>
                  </a:cubicBezTo>
                  <a:lnTo>
                    <a:pt x="28166" y="168990"/>
                  </a:lnTo>
                  <a:cubicBezTo>
                    <a:pt x="12610" y="168990"/>
                    <a:pt x="0" y="156380"/>
                    <a:pt x="0" y="140824"/>
                  </a:cubicBezTo>
                  <a:lnTo>
                    <a:pt x="0" y="28166"/>
                  </a:lnTo>
                  <a:close/>
                </a:path>
              </a:pathLst>
            </a:custGeom>
            <a:solidFill>
              <a:srgbClr val="9D1E27"/>
            </a:solidFill>
            <a:ln w="12700"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4919" tIns="21584" rIns="34919" bIns="21584" numCol="1" spcCol="1270" anchor="ctr" anchorCtr="0">
              <a:noAutofit/>
            </a:bodyPr>
            <a:lstStyle/>
            <a:p>
              <a:pPr marL="0" lvl="0" indent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000" b="1" kern="1200"/>
                <a:t>Axis</a:t>
              </a:r>
              <a:endParaRPr lang="en-IN" sz="1000" kern="1200"/>
            </a:p>
          </p:txBody>
        </p:sp>
      </p:grpSp>
      <p:sp>
        <p:nvSpPr>
          <p:cNvPr id="1100" name="Rectangle 1099">
            <a:extLst>
              <a:ext uri="{FF2B5EF4-FFF2-40B4-BE49-F238E27FC236}">
                <a16:creationId xmlns:a16="http://schemas.microsoft.com/office/drawing/2014/main" id="{3FFA9511-9339-4639-CF1E-CE1D5F635DAD}"/>
              </a:ext>
            </a:extLst>
          </p:cNvPr>
          <p:cNvSpPr/>
          <p:nvPr/>
        </p:nvSpPr>
        <p:spPr>
          <a:xfrm>
            <a:off x="542184" y="5985847"/>
            <a:ext cx="4399096" cy="547353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Market lacks a </a:t>
            </a:r>
            <a:r>
              <a:rPr lang="en-US" sz="1200" b="1">
                <a:solidFill>
                  <a:srgbClr val="9D1E27"/>
                </a:solidFill>
              </a:rPr>
              <a:t>single app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that </a:t>
            </a:r>
            <a:r>
              <a:rPr lang="en-US" sz="1200" b="1">
                <a:solidFill>
                  <a:srgbClr val="9D1E27"/>
                </a:solidFill>
              </a:rPr>
              <a:t>unites premium UX, rewards, and financial managemen</a:t>
            </a:r>
            <a:r>
              <a:rPr lang="en-US" sz="1200">
                <a:solidFill>
                  <a:srgbClr val="9D1E27"/>
                </a:solidFill>
              </a:rPr>
              <a:t>t</a:t>
            </a:r>
            <a:r>
              <a:rPr lang="en-US" sz="1200">
                <a:solidFill>
                  <a:schemeClr val="tx1"/>
                </a:solidFill>
              </a:rPr>
              <a:t> into one cohesive experience</a:t>
            </a:r>
            <a:endParaRPr lang="en-IN" sz="1200">
              <a:solidFill>
                <a:schemeClr val="tx1"/>
              </a:solidFill>
            </a:endParaRPr>
          </a:p>
        </p:txBody>
      </p:sp>
      <p:pic>
        <p:nvPicPr>
          <p:cNvPr id="1102" name="Picture 1101">
            <a:extLst>
              <a:ext uri="{FF2B5EF4-FFF2-40B4-BE49-F238E27FC236}">
                <a16:creationId xmlns:a16="http://schemas.microsoft.com/office/drawing/2014/main" id="{8A7A6B9C-7523-2D23-5662-B0CD7E99226A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31382" y="6094803"/>
            <a:ext cx="335638" cy="298952"/>
          </a:xfrm>
          <a:prstGeom prst="rect">
            <a:avLst/>
          </a:prstGeom>
        </p:spPr>
      </p:pic>
      <p:sp>
        <p:nvSpPr>
          <p:cNvPr id="1103" name="Rectangle 1102">
            <a:extLst>
              <a:ext uri="{FF2B5EF4-FFF2-40B4-BE49-F238E27FC236}">
                <a16:creationId xmlns:a16="http://schemas.microsoft.com/office/drawing/2014/main" id="{606252E3-A2F9-31F9-9F6C-94C3844898B0}"/>
              </a:ext>
            </a:extLst>
          </p:cNvPr>
          <p:cNvSpPr/>
          <p:nvPr/>
        </p:nvSpPr>
        <p:spPr>
          <a:xfrm>
            <a:off x="4538473" y="924706"/>
            <a:ext cx="2618774" cy="155551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900" b="1">
                <a:solidFill>
                  <a:srgbClr val="9D1E27"/>
                </a:solidFill>
              </a:rPr>
              <a:t>Navigation of Feature Awareness Level</a:t>
            </a:r>
          </a:p>
        </p:txBody>
      </p:sp>
      <p:pic>
        <p:nvPicPr>
          <p:cNvPr id="1104" name="Picture 1103">
            <a:extLst>
              <a:ext uri="{FF2B5EF4-FFF2-40B4-BE49-F238E27FC236}">
                <a16:creationId xmlns:a16="http://schemas.microsoft.com/office/drawing/2014/main" id="{61D9C323-A71D-A1D7-6CAF-D34436922F50}"/>
              </a:ext>
            </a:extLst>
          </p:cNvPr>
          <p:cNvPicPr>
            <a:picLocks noChangeAspect="1"/>
          </p:cNvPicPr>
          <p:nvPr/>
        </p:nvPicPr>
        <p:blipFill>
          <a:blip r:embed="rId21"/>
          <a:srcRect t="21627" r="5557" b="65937"/>
          <a:stretch>
            <a:fillRect/>
          </a:stretch>
        </p:blipFill>
        <p:spPr>
          <a:xfrm>
            <a:off x="4778344" y="1257843"/>
            <a:ext cx="2157810" cy="188383"/>
          </a:xfrm>
          <a:prstGeom prst="rect">
            <a:avLst/>
          </a:prstGeom>
        </p:spPr>
      </p:pic>
      <p:pic>
        <p:nvPicPr>
          <p:cNvPr id="1105" name="Picture 1104">
            <a:extLst>
              <a:ext uri="{FF2B5EF4-FFF2-40B4-BE49-F238E27FC236}">
                <a16:creationId xmlns:a16="http://schemas.microsoft.com/office/drawing/2014/main" id="{80EFF18F-5F5F-E77E-58DA-639A4C155C3E}"/>
              </a:ext>
            </a:extLst>
          </p:cNvPr>
          <p:cNvPicPr>
            <a:picLocks noChangeAspect="1"/>
          </p:cNvPicPr>
          <p:nvPr/>
        </p:nvPicPr>
        <p:blipFill>
          <a:blip r:embed="rId21"/>
          <a:srcRect t="41874" r="5010" b="43331"/>
          <a:stretch>
            <a:fillRect/>
          </a:stretch>
        </p:blipFill>
        <p:spPr>
          <a:xfrm>
            <a:off x="4778374" y="1611896"/>
            <a:ext cx="2163653" cy="231835"/>
          </a:xfrm>
          <a:prstGeom prst="rect">
            <a:avLst/>
          </a:prstGeom>
        </p:spPr>
      </p:pic>
      <p:pic>
        <p:nvPicPr>
          <p:cNvPr id="1106" name="Picture 1105">
            <a:extLst>
              <a:ext uri="{FF2B5EF4-FFF2-40B4-BE49-F238E27FC236}">
                <a16:creationId xmlns:a16="http://schemas.microsoft.com/office/drawing/2014/main" id="{FFF04377-CA39-34FF-ADE9-E070FBE81C65}"/>
              </a:ext>
            </a:extLst>
          </p:cNvPr>
          <p:cNvPicPr>
            <a:picLocks noChangeAspect="1"/>
          </p:cNvPicPr>
          <p:nvPr/>
        </p:nvPicPr>
        <p:blipFill>
          <a:blip r:embed="rId21"/>
          <a:srcRect t="61922" r="3388" b="23809"/>
          <a:stretch>
            <a:fillRect/>
          </a:stretch>
        </p:blipFill>
        <p:spPr>
          <a:xfrm>
            <a:off x="4778593" y="1985486"/>
            <a:ext cx="2207461" cy="223177"/>
          </a:xfrm>
          <a:prstGeom prst="rect">
            <a:avLst/>
          </a:prstGeom>
        </p:spPr>
      </p:pic>
      <p:pic>
        <p:nvPicPr>
          <p:cNvPr id="1107" name="Picture 1106">
            <a:extLst>
              <a:ext uri="{FF2B5EF4-FFF2-40B4-BE49-F238E27FC236}">
                <a16:creationId xmlns:a16="http://schemas.microsoft.com/office/drawing/2014/main" id="{1A19E6C8-6795-D965-1B20-5F456D278E26}"/>
              </a:ext>
            </a:extLst>
          </p:cNvPr>
          <p:cNvPicPr>
            <a:picLocks noChangeAspect="1"/>
          </p:cNvPicPr>
          <p:nvPr/>
        </p:nvPicPr>
        <p:blipFill>
          <a:blip r:embed="rId21"/>
          <a:srcRect t="84801" r="5557" b="2915"/>
          <a:stretch>
            <a:fillRect/>
          </a:stretch>
        </p:blipFill>
        <p:spPr>
          <a:xfrm>
            <a:off x="4778029" y="2378967"/>
            <a:ext cx="2094762" cy="209022"/>
          </a:xfrm>
          <a:prstGeom prst="rect">
            <a:avLst/>
          </a:prstGeom>
        </p:spPr>
      </p:pic>
      <p:sp>
        <p:nvSpPr>
          <p:cNvPr id="1108" name="Rectangle 1107">
            <a:extLst>
              <a:ext uri="{FF2B5EF4-FFF2-40B4-BE49-F238E27FC236}">
                <a16:creationId xmlns:a16="http://schemas.microsoft.com/office/drawing/2014/main" id="{0CF85807-8A17-590D-49F0-2E5379935EE3}"/>
              </a:ext>
            </a:extLst>
          </p:cNvPr>
          <p:cNvSpPr/>
          <p:nvPr/>
        </p:nvSpPr>
        <p:spPr>
          <a:xfrm>
            <a:off x="4772237" y="1147853"/>
            <a:ext cx="936460" cy="92344"/>
          </a:xfrm>
          <a:prstGeom prst="rect">
            <a:avLst/>
          </a:prstGeom>
          <a:noFill/>
          <a:ln w="1270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000">
                <a:solidFill>
                  <a:srgbClr val="9D1E27"/>
                </a:solidFill>
              </a:rPr>
              <a:t>Transactions</a:t>
            </a:r>
          </a:p>
        </p:txBody>
      </p:sp>
      <p:sp>
        <p:nvSpPr>
          <p:cNvPr id="1109" name="Rectangle 1108">
            <a:extLst>
              <a:ext uri="{FF2B5EF4-FFF2-40B4-BE49-F238E27FC236}">
                <a16:creationId xmlns:a16="http://schemas.microsoft.com/office/drawing/2014/main" id="{402CB58B-7429-8366-F97A-D6163DAC2CB6}"/>
              </a:ext>
            </a:extLst>
          </p:cNvPr>
          <p:cNvSpPr/>
          <p:nvPr/>
        </p:nvSpPr>
        <p:spPr>
          <a:xfrm>
            <a:off x="4776902" y="1485537"/>
            <a:ext cx="1869443" cy="76651"/>
          </a:xfrm>
          <a:prstGeom prst="rect">
            <a:avLst/>
          </a:prstGeom>
          <a:noFill/>
          <a:ln w="1270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000">
                <a:solidFill>
                  <a:srgbClr val="9D1E27"/>
                </a:solidFill>
              </a:rPr>
              <a:t>Raising Service Requests</a:t>
            </a:r>
          </a:p>
        </p:txBody>
      </p:sp>
      <p:sp>
        <p:nvSpPr>
          <p:cNvPr id="1110" name="Rectangle 1109">
            <a:extLst>
              <a:ext uri="{FF2B5EF4-FFF2-40B4-BE49-F238E27FC236}">
                <a16:creationId xmlns:a16="http://schemas.microsoft.com/office/drawing/2014/main" id="{C270E5B1-575A-81EB-6DD5-EA9968CDEB17}"/>
              </a:ext>
            </a:extLst>
          </p:cNvPr>
          <p:cNvSpPr/>
          <p:nvPr/>
        </p:nvSpPr>
        <p:spPr>
          <a:xfrm>
            <a:off x="4776902" y="1866950"/>
            <a:ext cx="1869443" cy="76651"/>
          </a:xfrm>
          <a:prstGeom prst="rect">
            <a:avLst/>
          </a:prstGeom>
          <a:noFill/>
          <a:ln w="1270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000">
                <a:solidFill>
                  <a:srgbClr val="9D1E27"/>
                </a:solidFill>
              </a:rPr>
              <a:t>Rewards Redemption</a:t>
            </a:r>
          </a:p>
        </p:txBody>
      </p:sp>
      <p:sp>
        <p:nvSpPr>
          <p:cNvPr id="1111" name="Rectangle 1110">
            <a:extLst>
              <a:ext uri="{FF2B5EF4-FFF2-40B4-BE49-F238E27FC236}">
                <a16:creationId xmlns:a16="http://schemas.microsoft.com/office/drawing/2014/main" id="{A4866A93-AC60-2A7B-A158-42898EFBA346}"/>
              </a:ext>
            </a:extLst>
          </p:cNvPr>
          <p:cNvSpPr/>
          <p:nvPr/>
        </p:nvSpPr>
        <p:spPr>
          <a:xfrm>
            <a:off x="4776902" y="2223921"/>
            <a:ext cx="1869443" cy="76651"/>
          </a:xfrm>
          <a:prstGeom prst="rect">
            <a:avLst/>
          </a:prstGeom>
          <a:noFill/>
          <a:ln w="1270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000">
                <a:solidFill>
                  <a:srgbClr val="9D1E27"/>
                </a:solidFill>
              </a:rPr>
              <a:t>Budget Tools / Spend Analytic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E52178-46A6-8D3A-9AAF-33A061E379B3}"/>
              </a:ext>
            </a:extLst>
          </p:cNvPr>
          <p:cNvCxnSpPr>
            <a:cxnSpLocks/>
          </p:cNvCxnSpPr>
          <p:nvPr/>
        </p:nvCxnSpPr>
        <p:spPr>
          <a:xfrm>
            <a:off x="7096124" y="629779"/>
            <a:ext cx="0" cy="1988009"/>
          </a:xfrm>
          <a:prstGeom prst="line">
            <a:avLst/>
          </a:prstGeom>
          <a:ln>
            <a:solidFill>
              <a:srgbClr val="9D1E2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Arrow: Chevron 10">
            <a:extLst>
              <a:ext uri="{FF2B5EF4-FFF2-40B4-BE49-F238E27FC236}">
                <a16:creationId xmlns:a16="http://schemas.microsoft.com/office/drawing/2014/main" id="{2D22F02B-0BF0-34C1-2538-D17A5F431A4B}"/>
              </a:ext>
            </a:extLst>
          </p:cNvPr>
          <p:cNvSpPr/>
          <p:nvPr/>
        </p:nvSpPr>
        <p:spPr>
          <a:xfrm>
            <a:off x="5003799" y="2656862"/>
            <a:ext cx="7040326" cy="252000"/>
          </a:xfrm>
          <a:prstGeom prst="chevron">
            <a:avLst>
              <a:gd name="adj" fmla="val 34868"/>
            </a:avLst>
          </a:prstGeom>
          <a:solidFill>
            <a:srgbClr val="9D1E27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>
              <a:lnSpc>
                <a:spcPct val="90000"/>
              </a:lnSpc>
              <a:spcBef>
                <a:spcPct val="0"/>
              </a:spcBef>
            </a:pPr>
            <a:r>
              <a:rPr lang="en-US" sz="1400" b="1" i="1"/>
              <a:t>Positioning Strategy</a:t>
            </a:r>
            <a:endParaRPr lang="en-IN" sz="1400" b="1" i="1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2AC6AB9-6C81-C663-9779-86269C7EA51C}"/>
              </a:ext>
            </a:extLst>
          </p:cNvPr>
          <p:cNvCxnSpPr/>
          <p:nvPr/>
        </p:nvCxnSpPr>
        <p:spPr>
          <a:xfrm>
            <a:off x="70147" y="2602737"/>
            <a:ext cx="11756075" cy="0"/>
          </a:xfrm>
          <a:prstGeom prst="line">
            <a:avLst/>
          </a:prstGeom>
          <a:ln>
            <a:solidFill>
              <a:srgbClr val="9D1E2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DE102ED-8A97-4084-A6BB-0583E9C755ED}"/>
              </a:ext>
            </a:extLst>
          </p:cNvPr>
          <p:cNvCxnSpPr>
            <a:cxnSpLocks/>
          </p:cNvCxnSpPr>
          <p:nvPr/>
        </p:nvCxnSpPr>
        <p:spPr>
          <a:xfrm>
            <a:off x="51097" y="585486"/>
            <a:ext cx="11704870" cy="14130"/>
          </a:xfrm>
          <a:prstGeom prst="line">
            <a:avLst/>
          </a:prstGeom>
          <a:ln>
            <a:solidFill>
              <a:srgbClr val="9D1E2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CCCFB764-3D7E-2BC1-74F9-BD85F78F33AA}"/>
              </a:ext>
            </a:extLst>
          </p:cNvPr>
          <p:cNvSpPr/>
          <p:nvPr/>
        </p:nvSpPr>
        <p:spPr>
          <a:xfrm>
            <a:off x="5048477" y="2963692"/>
            <a:ext cx="6951436" cy="231946"/>
          </a:xfrm>
          <a:prstGeom prst="rect">
            <a:avLst/>
          </a:prstGeom>
          <a:noFill/>
          <a:ln>
            <a:solidFill>
              <a:srgbClr val="9D1E2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>
                <a:solidFill>
                  <a:srgbClr val="9D1E27"/>
                </a:solidFill>
              </a:rPr>
              <a:t>Core Value Proposition: </a:t>
            </a:r>
            <a:r>
              <a:rPr lang="en-IN" sz="1200">
                <a:solidFill>
                  <a:srgbClr val="9D1E27"/>
                </a:solidFill>
              </a:rPr>
              <a:t>“P</a:t>
            </a:r>
            <a:r>
              <a:rPr lang="en-US" sz="1200" err="1">
                <a:solidFill>
                  <a:srgbClr val="9D1E27"/>
                </a:solidFill>
              </a:rPr>
              <a:t>ersonal</a:t>
            </a:r>
            <a:r>
              <a:rPr lang="en-US" sz="1200">
                <a:solidFill>
                  <a:srgbClr val="9D1E27"/>
                </a:solidFill>
              </a:rPr>
              <a:t> Digital Banking Concierge"</a:t>
            </a:r>
            <a:endParaRPr lang="en-IN" sz="1200">
              <a:solidFill>
                <a:srgbClr val="9D1E27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3D00C1D-B1DE-BA73-FFAA-798222F4EA45}"/>
              </a:ext>
            </a:extLst>
          </p:cNvPr>
          <p:cNvSpPr/>
          <p:nvPr/>
        </p:nvSpPr>
        <p:spPr>
          <a:xfrm>
            <a:off x="6964896" y="943587"/>
            <a:ext cx="3502899" cy="95655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9D1E27"/>
                </a:solidFill>
              </a:rPr>
              <a:t>C</a:t>
            </a:r>
            <a:r>
              <a:rPr lang="en-IN" sz="800" b="1">
                <a:solidFill>
                  <a:srgbClr val="9D1E27"/>
                </a:solidFill>
              </a:rPr>
              <a:t>ategory Level Average Score Of Banks In Functionality Assessment 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F4C5A1F-59CC-3851-AA34-FE7C24F9E4F1}"/>
              </a:ext>
            </a:extLst>
          </p:cNvPr>
          <p:cNvSpPr txBox="1"/>
          <p:nvPr/>
        </p:nvSpPr>
        <p:spPr>
          <a:xfrm>
            <a:off x="7157247" y="1039945"/>
            <a:ext cx="7010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/>
              <a:t>Money Movement</a:t>
            </a:r>
            <a:endParaRPr lang="en-IN" sz="700" b="1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4ACB9FD-5034-BF26-2F68-3C27BA668533}"/>
              </a:ext>
            </a:extLst>
          </p:cNvPr>
          <p:cNvSpPr txBox="1"/>
          <p:nvPr/>
        </p:nvSpPr>
        <p:spPr>
          <a:xfrm>
            <a:off x="7582235" y="1283391"/>
            <a:ext cx="6332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/>
              <a:t>Marketing </a:t>
            </a:r>
          </a:p>
          <a:p>
            <a:r>
              <a:rPr lang="en-US" sz="700" b="1"/>
              <a:t>&amp; Sales</a:t>
            </a:r>
            <a:endParaRPr lang="en-IN" sz="700" b="1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C32F280-E2FD-D409-6EED-0511AC2A470D}"/>
              </a:ext>
            </a:extLst>
          </p:cNvPr>
          <p:cNvSpPr txBox="1"/>
          <p:nvPr/>
        </p:nvSpPr>
        <p:spPr>
          <a:xfrm>
            <a:off x="7989399" y="1420036"/>
            <a:ext cx="6634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/>
              <a:t>Self Service Features</a:t>
            </a:r>
            <a:endParaRPr lang="en-IN" sz="700" b="1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560A58D-9C5A-9004-ED7B-B8F0C535B604}"/>
              </a:ext>
            </a:extLst>
          </p:cNvPr>
          <p:cNvSpPr txBox="1"/>
          <p:nvPr/>
        </p:nvSpPr>
        <p:spPr>
          <a:xfrm>
            <a:off x="8469347" y="1636236"/>
            <a:ext cx="7481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/>
              <a:t>Account Mgmt.</a:t>
            </a:r>
            <a:endParaRPr lang="en-IN" sz="700" b="1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217769E-79C8-869A-63A2-08DA2EB17157}"/>
              </a:ext>
            </a:extLst>
          </p:cNvPr>
          <p:cNvSpPr txBox="1"/>
          <p:nvPr/>
        </p:nvSpPr>
        <p:spPr>
          <a:xfrm>
            <a:off x="8881053" y="1414813"/>
            <a:ext cx="55305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/>
              <a:t>Assisted service features</a:t>
            </a:r>
            <a:endParaRPr lang="en-IN" sz="700" b="1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EDDA7E5-0524-861C-82DA-52C95236D4B0}"/>
              </a:ext>
            </a:extLst>
          </p:cNvPr>
          <p:cNvSpPr txBox="1"/>
          <p:nvPr/>
        </p:nvSpPr>
        <p:spPr>
          <a:xfrm>
            <a:off x="9323345" y="1770885"/>
            <a:ext cx="6509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/>
              <a:t>Money Mgmt.</a:t>
            </a:r>
            <a:endParaRPr lang="en-IN" sz="700" b="1"/>
          </a:p>
        </p:txBody>
      </p:sp>
      <p:sp>
        <p:nvSpPr>
          <p:cNvPr id="1024" name="Rectangle 1023">
            <a:extLst>
              <a:ext uri="{FF2B5EF4-FFF2-40B4-BE49-F238E27FC236}">
                <a16:creationId xmlns:a16="http://schemas.microsoft.com/office/drawing/2014/main" id="{0A98C5B3-D813-2831-E7D3-A8C524701087}"/>
              </a:ext>
            </a:extLst>
          </p:cNvPr>
          <p:cNvSpPr/>
          <p:nvPr/>
        </p:nvSpPr>
        <p:spPr>
          <a:xfrm>
            <a:off x="9704040" y="2156794"/>
            <a:ext cx="634108" cy="352257"/>
          </a:xfrm>
          <a:prstGeom prst="rect">
            <a:avLst/>
          </a:prstGeom>
          <a:solidFill>
            <a:srgbClr val="F6CDD3"/>
          </a:solidFill>
          <a:ln>
            <a:solidFill>
              <a:srgbClr val="F6CD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>
                <a:solidFill>
                  <a:schemeClr val="tx1"/>
                </a:solidFill>
              </a:rPr>
              <a:t>Needs Improvement</a:t>
            </a:r>
            <a:endParaRPr lang="en-IN" sz="600">
              <a:solidFill>
                <a:schemeClr val="tx1"/>
              </a:solidFill>
            </a:endParaRPr>
          </a:p>
        </p:txBody>
      </p:sp>
      <p:sp>
        <p:nvSpPr>
          <p:cNvPr id="1025" name="Rectangle 1024">
            <a:extLst>
              <a:ext uri="{FF2B5EF4-FFF2-40B4-BE49-F238E27FC236}">
                <a16:creationId xmlns:a16="http://schemas.microsoft.com/office/drawing/2014/main" id="{8C118383-F2D8-A5C5-14BB-38F2772491A0}"/>
              </a:ext>
            </a:extLst>
          </p:cNvPr>
          <p:cNvSpPr/>
          <p:nvPr/>
        </p:nvSpPr>
        <p:spPr>
          <a:xfrm>
            <a:off x="9808565" y="1783394"/>
            <a:ext cx="529582" cy="351258"/>
          </a:xfrm>
          <a:prstGeom prst="rect">
            <a:avLst/>
          </a:prstGeom>
          <a:solidFill>
            <a:srgbClr val="FFFBDC"/>
          </a:solidFill>
          <a:ln>
            <a:solidFill>
              <a:srgbClr val="FFFB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>
                <a:solidFill>
                  <a:schemeClr val="tx1"/>
                </a:solidFill>
              </a:rPr>
              <a:t>Missing Key Features</a:t>
            </a:r>
            <a:endParaRPr lang="en-IN" sz="600">
              <a:solidFill>
                <a:schemeClr val="tx1"/>
              </a:solidFill>
            </a:endParaRPr>
          </a:p>
        </p:txBody>
      </p:sp>
      <p:sp>
        <p:nvSpPr>
          <p:cNvPr id="1026" name="Rectangle 1025">
            <a:extLst>
              <a:ext uri="{FF2B5EF4-FFF2-40B4-BE49-F238E27FC236}">
                <a16:creationId xmlns:a16="http://schemas.microsoft.com/office/drawing/2014/main" id="{044BDB42-DB8E-3C4C-3673-FF08A0CB87BB}"/>
              </a:ext>
            </a:extLst>
          </p:cNvPr>
          <p:cNvSpPr/>
          <p:nvPr/>
        </p:nvSpPr>
        <p:spPr>
          <a:xfrm>
            <a:off x="9662291" y="1442264"/>
            <a:ext cx="669339" cy="346404"/>
          </a:xfrm>
          <a:prstGeom prst="rect">
            <a:avLst/>
          </a:prstGeom>
          <a:solidFill>
            <a:srgbClr val="D0D7E9"/>
          </a:solidFill>
          <a:ln>
            <a:solidFill>
              <a:srgbClr val="D0D7E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>
                <a:solidFill>
                  <a:schemeClr val="tx1"/>
                </a:solidFill>
              </a:rPr>
              <a:t>Meets Expectations</a:t>
            </a:r>
            <a:endParaRPr lang="en-IN" sz="600">
              <a:solidFill>
                <a:schemeClr val="tx1"/>
              </a:solidFill>
            </a:endParaRPr>
          </a:p>
        </p:txBody>
      </p:sp>
      <p:sp>
        <p:nvSpPr>
          <p:cNvPr id="1028" name="Rectangle 1027">
            <a:extLst>
              <a:ext uri="{FF2B5EF4-FFF2-40B4-BE49-F238E27FC236}">
                <a16:creationId xmlns:a16="http://schemas.microsoft.com/office/drawing/2014/main" id="{F9805BAD-5857-C379-FAE7-693BEEDA4460}"/>
              </a:ext>
            </a:extLst>
          </p:cNvPr>
          <p:cNvSpPr/>
          <p:nvPr/>
        </p:nvSpPr>
        <p:spPr>
          <a:xfrm>
            <a:off x="9648837" y="1084912"/>
            <a:ext cx="682793" cy="341889"/>
          </a:xfrm>
          <a:prstGeom prst="rect">
            <a:avLst/>
          </a:prstGeom>
          <a:solidFill>
            <a:srgbClr val="D7F1E6"/>
          </a:solidFill>
          <a:ln>
            <a:solidFill>
              <a:srgbClr val="D7F1E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>
                <a:solidFill>
                  <a:schemeClr val="tx1"/>
                </a:solidFill>
              </a:rPr>
              <a:t>Exceeds Expectations</a:t>
            </a:r>
            <a:endParaRPr lang="en-IN" sz="600">
              <a:solidFill>
                <a:schemeClr val="tx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BE602E5-41E2-6DF3-11A1-C6ADB4127BD8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048320" y="3378437"/>
            <a:ext cx="4772874" cy="2820627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AF308D1D-0ED2-4A9B-159A-0D020F280732}"/>
              </a:ext>
            </a:extLst>
          </p:cNvPr>
          <p:cNvSpPr/>
          <p:nvPr/>
        </p:nvSpPr>
        <p:spPr>
          <a:xfrm>
            <a:off x="8940435" y="1402012"/>
            <a:ext cx="778350" cy="1133722"/>
          </a:xfrm>
          <a:prstGeom prst="rect">
            <a:avLst/>
          </a:prstGeom>
          <a:noFill/>
          <a:ln>
            <a:solidFill>
              <a:srgbClr val="9D1E27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48" name="Rectangle 1047">
            <a:extLst>
              <a:ext uri="{FF2B5EF4-FFF2-40B4-BE49-F238E27FC236}">
                <a16:creationId xmlns:a16="http://schemas.microsoft.com/office/drawing/2014/main" id="{F34BBAB3-FC1D-27E2-C7A3-043956A8D89E}"/>
              </a:ext>
            </a:extLst>
          </p:cNvPr>
          <p:cNvSpPr/>
          <p:nvPr/>
        </p:nvSpPr>
        <p:spPr>
          <a:xfrm>
            <a:off x="4778009" y="1819276"/>
            <a:ext cx="2219691" cy="740270"/>
          </a:xfrm>
          <a:prstGeom prst="rect">
            <a:avLst/>
          </a:prstGeom>
          <a:noFill/>
          <a:ln>
            <a:solidFill>
              <a:srgbClr val="9D1E27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75" name="Rectangle: Rounded Corners 1074">
            <a:extLst>
              <a:ext uri="{FF2B5EF4-FFF2-40B4-BE49-F238E27FC236}">
                <a16:creationId xmlns:a16="http://schemas.microsoft.com/office/drawing/2014/main" id="{1018B583-D0CB-5268-F810-C414A6F47F0E}"/>
              </a:ext>
            </a:extLst>
          </p:cNvPr>
          <p:cNvSpPr/>
          <p:nvPr/>
        </p:nvSpPr>
        <p:spPr>
          <a:xfrm>
            <a:off x="9910291" y="3277761"/>
            <a:ext cx="2050633" cy="206324"/>
          </a:xfrm>
          <a:prstGeom prst="roundRect">
            <a:avLst/>
          </a:prstGeom>
          <a:solidFill>
            <a:srgbClr val="9D1E27"/>
          </a:solidFill>
          <a:ln>
            <a:solidFill>
              <a:srgbClr val="9D1E2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>
                <a:solidFill>
                  <a:schemeClr val="bg1"/>
                </a:solidFill>
              </a:rPr>
              <a:t>Usage </a:t>
            </a:r>
            <a:r>
              <a:rPr lang="en-IN" sz="1200"/>
              <a:t>(depth + frequency)</a:t>
            </a:r>
            <a:endParaRPr lang="en-IN" sz="1200" b="1">
              <a:solidFill>
                <a:schemeClr val="bg1"/>
              </a:solidFill>
            </a:endParaRPr>
          </a:p>
        </p:txBody>
      </p:sp>
      <p:sp>
        <p:nvSpPr>
          <p:cNvPr id="1076" name="Rectangle: Rounded Corners 1075">
            <a:extLst>
              <a:ext uri="{FF2B5EF4-FFF2-40B4-BE49-F238E27FC236}">
                <a16:creationId xmlns:a16="http://schemas.microsoft.com/office/drawing/2014/main" id="{88B39B88-251D-324E-1BD9-AD17AFBD9E29}"/>
              </a:ext>
            </a:extLst>
          </p:cNvPr>
          <p:cNvSpPr/>
          <p:nvPr/>
        </p:nvSpPr>
        <p:spPr>
          <a:xfrm>
            <a:off x="9910291" y="4320794"/>
            <a:ext cx="2050633" cy="206324"/>
          </a:xfrm>
          <a:prstGeom prst="roundRect">
            <a:avLst/>
          </a:prstGeom>
          <a:solidFill>
            <a:srgbClr val="9D1E27"/>
          </a:solidFill>
          <a:ln>
            <a:solidFill>
              <a:srgbClr val="9D1E2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>
                <a:solidFill>
                  <a:schemeClr val="bg1"/>
                </a:solidFill>
              </a:rPr>
              <a:t>Satisfaction </a:t>
            </a:r>
            <a:r>
              <a:rPr lang="en-IN" sz="1000">
                <a:solidFill>
                  <a:schemeClr val="bg1"/>
                </a:solidFill>
              </a:rPr>
              <a:t>(personal + easy)</a:t>
            </a:r>
            <a:endParaRPr lang="en-IN" sz="1200">
              <a:solidFill>
                <a:schemeClr val="bg1"/>
              </a:solidFill>
            </a:endParaRPr>
          </a:p>
        </p:txBody>
      </p:sp>
      <p:sp>
        <p:nvSpPr>
          <p:cNvPr id="1077" name="Rectangle: Rounded Corners 1076">
            <a:extLst>
              <a:ext uri="{FF2B5EF4-FFF2-40B4-BE49-F238E27FC236}">
                <a16:creationId xmlns:a16="http://schemas.microsoft.com/office/drawing/2014/main" id="{E50F154B-355E-3E67-2411-5FA6BE3ABA05}"/>
              </a:ext>
            </a:extLst>
          </p:cNvPr>
          <p:cNvSpPr/>
          <p:nvPr/>
        </p:nvSpPr>
        <p:spPr>
          <a:xfrm>
            <a:off x="9903941" y="5325387"/>
            <a:ext cx="2050633" cy="206324"/>
          </a:xfrm>
          <a:prstGeom prst="roundRect">
            <a:avLst/>
          </a:prstGeom>
          <a:solidFill>
            <a:srgbClr val="9D1E27"/>
          </a:solidFill>
          <a:ln>
            <a:solidFill>
              <a:srgbClr val="9D1E2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>
                <a:solidFill>
                  <a:schemeClr val="bg1"/>
                </a:solidFill>
              </a:rPr>
              <a:t>Business growth</a:t>
            </a:r>
          </a:p>
        </p:txBody>
      </p:sp>
      <p:sp>
        <p:nvSpPr>
          <p:cNvPr id="1079" name="Rectangle: Rounded Corners 1078">
            <a:extLst>
              <a:ext uri="{FF2B5EF4-FFF2-40B4-BE49-F238E27FC236}">
                <a16:creationId xmlns:a16="http://schemas.microsoft.com/office/drawing/2014/main" id="{CE96FFC5-3417-7D91-24A3-EBA04DFC4B57}"/>
              </a:ext>
            </a:extLst>
          </p:cNvPr>
          <p:cNvSpPr/>
          <p:nvPr/>
        </p:nvSpPr>
        <p:spPr>
          <a:xfrm>
            <a:off x="9917548" y="3502732"/>
            <a:ext cx="2050633" cy="754943"/>
          </a:xfrm>
          <a:prstGeom prst="roundRect">
            <a:avLst/>
          </a:prstGeom>
          <a:noFill/>
          <a:ln>
            <a:gradFill>
              <a:gsLst>
                <a:gs pos="0">
                  <a:schemeClr val="bg1"/>
                </a:gs>
                <a:gs pos="100000">
                  <a:srgbClr val="9D1E27"/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200">
                <a:solidFill>
                  <a:schemeClr val="tx1"/>
                </a:solidFill>
              </a:rPr>
              <a:t>Query-to-action conversion</a:t>
            </a:r>
          </a:p>
          <a:p>
            <a:endParaRPr lang="en-IN" sz="100">
              <a:solidFill>
                <a:schemeClr val="tx1"/>
              </a:solidFill>
            </a:endParaRPr>
          </a:p>
          <a:p>
            <a:r>
              <a:rPr lang="en-IN" sz="1200">
                <a:solidFill>
                  <a:schemeClr val="tx1"/>
                </a:solidFill>
              </a:rPr>
              <a:t>Voucher </a:t>
            </a:r>
            <a:br>
              <a:rPr lang="en-IN" sz="1200">
                <a:solidFill>
                  <a:schemeClr val="tx1"/>
                </a:solidFill>
              </a:rPr>
            </a:br>
            <a:r>
              <a:rPr lang="en-IN" sz="1200">
                <a:solidFill>
                  <a:schemeClr val="tx1"/>
                </a:solidFill>
              </a:rPr>
              <a:t>Attach-rate</a:t>
            </a:r>
          </a:p>
        </p:txBody>
      </p:sp>
      <p:sp>
        <p:nvSpPr>
          <p:cNvPr id="1080" name="Arrow: Up 1079">
            <a:extLst>
              <a:ext uri="{FF2B5EF4-FFF2-40B4-BE49-F238E27FC236}">
                <a16:creationId xmlns:a16="http://schemas.microsoft.com/office/drawing/2014/main" id="{CE381922-38EE-61E1-6027-203DD5872F4F}"/>
              </a:ext>
            </a:extLst>
          </p:cNvPr>
          <p:cNvSpPr/>
          <p:nvPr/>
        </p:nvSpPr>
        <p:spPr>
          <a:xfrm>
            <a:off x="11236142" y="3540352"/>
            <a:ext cx="130628" cy="254000"/>
          </a:xfrm>
          <a:prstGeom prst="upArrow">
            <a:avLst>
              <a:gd name="adj1" fmla="val 35417"/>
              <a:gd name="adj2" fmla="val 86458"/>
            </a:avLst>
          </a:prstGeom>
          <a:solidFill>
            <a:srgbClr val="9D1E2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81" name="TextBox 1080">
            <a:extLst>
              <a:ext uri="{FF2B5EF4-FFF2-40B4-BE49-F238E27FC236}">
                <a16:creationId xmlns:a16="http://schemas.microsoft.com/office/drawing/2014/main" id="{F5C2EE6A-F428-17E7-2CA2-A0BACEEA130F}"/>
              </a:ext>
            </a:extLst>
          </p:cNvPr>
          <p:cNvSpPr txBox="1"/>
          <p:nvPr/>
        </p:nvSpPr>
        <p:spPr>
          <a:xfrm>
            <a:off x="11264737" y="3592513"/>
            <a:ext cx="7351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b="1">
                <a:solidFill>
                  <a:srgbClr val="9D1E27"/>
                </a:solidFill>
              </a:rPr>
              <a:t>35%-40%</a:t>
            </a:r>
          </a:p>
        </p:txBody>
      </p:sp>
      <p:sp>
        <p:nvSpPr>
          <p:cNvPr id="1082" name="Rectangle: Rounded Corners 1081">
            <a:extLst>
              <a:ext uri="{FF2B5EF4-FFF2-40B4-BE49-F238E27FC236}">
                <a16:creationId xmlns:a16="http://schemas.microsoft.com/office/drawing/2014/main" id="{AB73A695-7F1D-292C-55C8-279D6EB329CE}"/>
              </a:ext>
            </a:extLst>
          </p:cNvPr>
          <p:cNvSpPr/>
          <p:nvPr/>
        </p:nvSpPr>
        <p:spPr>
          <a:xfrm>
            <a:off x="9908023" y="4545966"/>
            <a:ext cx="2050633" cy="711200"/>
          </a:xfrm>
          <a:prstGeom prst="roundRect">
            <a:avLst/>
          </a:prstGeom>
          <a:noFill/>
          <a:ln>
            <a:gradFill>
              <a:gsLst>
                <a:gs pos="0">
                  <a:schemeClr val="bg1"/>
                </a:gs>
                <a:gs pos="100000">
                  <a:srgbClr val="9D1E27"/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200">
                <a:solidFill>
                  <a:schemeClr val="tx1"/>
                </a:solidFill>
              </a:rPr>
              <a:t>NPS</a:t>
            </a:r>
          </a:p>
          <a:p>
            <a:endParaRPr lang="en-IN" sz="300">
              <a:solidFill>
                <a:schemeClr val="tx1"/>
              </a:solidFill>
            </a:endParaRPr>
          </a:p>
          <a:p>
            <a:r>
              <a:rPr lang="en-IN" sz="1200">
                <a:solidFill>
                  <a:schemeClr val="tx1"/>
                </a:solidFill>
              </a:rPr>
              <a:t>Reduction in service calls/ bank visits</a:t>
            </a:r>
          </a:p>
        </p:txBody>
      </p:sp>
      <p:sp>
        <p:nvSpPr>
          <p:cNvPr id="1083" name="Rectangle: Rounded Corners 1082">
            <a:extLst>
              <a:ext uri="{FF2B5EF4-FFF2-40B4-BE49-F238E27FC236}">
                <a16:creationId xmlns:a16="http://schemas.microsoft.com/office/drawing/2014/main" id="{941A80EB-60D8-B5DD-0068-10D0DF4C1719}"/>
              </a:ext>
            </a:extLst>
          </p:cNvPr>
          <p:cNvSpPr/>
          <p:nvPr/>
        </p:nvSpPr>
        <p:spPr>
          <a:xfrm>
            <a:off x="9901673" y="5544290"/>
            <a:ext cx="2050633" cy="733387"/>
          </a:xfrm>
          <a:prstGeom prst="roundRect">
            <a:avLst/>
          </a:prstGeom>
          <a:noFill/>
          <a:ln>
            <a:gradFill>
              <a:gsLst>
                <a:gs pos="0">
                  <a:schemeClr val="bg1"/>
                </a:gs>
                <a:gs pos="100000">
                  <a:srgbClr val="9D1E27"/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</a:rPr>
              <a:t>Cross-Sell via Search 2.0</a:t>
            </a:r>
            <a:endParaRPr lang="en-IN" sz="1200">
              <a:solidFill>
                <a:schemeClr val="tx1"/>
              </a:solidFill>
            </a:endParaRPr>
          </a:p>
          <a:p>
            <a:endParaRPr lang="en-IN" sz="400">
              <a:solidFill>
                <a:schemeClr val="tx1"/>
              </a:solidFill>
              <a:highlight>
                <a:srgbClr val="FFFF00"/>
              </a:highlight>
            </a:endParaRPr>
          </a:p>
          <a:p>
            <a:r>
              <a:rPr lang="en-IN" sz="1200">
                <a:solidFill>
                  <a:schemeClr val="tx1"/>
                </a:solidFill>
              </a:rPr>
              <a:t>New users who switch-in due to app functionality</a:t>
            </a:r>
          </a:p>
        </p:txBody>
      </p:sp>
      <p:sp>
        <p:nvSpPr>
          <p:cNvPr id="1084" name="Arrow: Up 1083">
            <a:extLst>
              <a:ext uri="{FF2B5EF4-FFF2-40B4-BE49-F238E27FC236}">
                <a16:creationId xmlns:a16="http://schemas.microsoft.com/office/drawing/2014/main" id="{E2096EAB-7C90-8799-F093-3E6BC7C9A818}"/>
              </a:ext>
            </a:extLst>
          </p:cNvPr>
          <p:cNvSpPr/>
          <p:nvPr/>
        </p:nvSpPr>
        <p:spPr>
          <a:xfrm>
            <a:off x="11236142" y="3907065"/>
            <a:ext cx="130628" cy="254000"/>
          </a:xfrm>
          <a:prstGeom prst="upArrow">
            <a:avLst>
              <a:gd name="adj1" fmla="val 35417"/>
              <a:gd name="adj2" fmla="val 86458"/>
            </a:avLst>
          </a:prstGeom>
          <a:solidFill>
            <a:srgbClr val="9D1E2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85" name="TextBox 1084">
            <a:extLst>
              <a:ext uri="{FF2B5EF4-FFF2-40B4-BE49-F238E27FC236}">
                <a16:creationId xmlns:a16="http://schemas.microsoft.com/office/drawing/2014/main" id="{5728153C-1428-1322-D6F9-4D78EC368BE9}"/>
              </a:ext>
            </a:extLst>
          </p:cNvPr>
          <p:cNvSpPr txBox="1"/>
          <p:nvPr/>
        </p:nvSpPr>
        <p:spPr>
          <a:xfrm>
            <a:off x="11264737" y="3959226"/>
            <a:ext cx="735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b="1">
                <a:solidFill>
                  <a:srgbClr val="9D1E27"/>
                </a:solidFill>
              </a:rPr>
              <a:t>25%-30%</a:t>
            </a:r>
          </a:p>
        </p:txBody>
      </p:sp>
      <p:sp>
        <p:nvSpPr>
          <p:cNvPr id="1090" name="Plus Sign 1089">
            <a:extLst>
              <a:ext uri="{FF2B5EF4-FFF2-40B4-BE49-F238E27FC236}">
                <a16:creationId xmlns:a16="http://schemas.microsoft.com/office/drawing/2014/main" id="{F9625FC2-7CEF-FDDC-D174-FCC70C485033}"/>
              </a:ext>
            </a:extLst>
          </p:cNvPr>
          <p:cNvSpPr/>
          <p:nvPr/>
        </p:nvSpPr>
        <p:spPr>
          <a:xfrm>
            <a:off x="11208544" y="4619864"/>
            <a:ext cx="174625" cy="180975"/>
          </a:xfrm>
          <a:prstGeom prst="mathPlus">
            <a:avLst>
              <a:gd name="adj1" fmla="val 7964"/>
            </a:avLst>
          </a:prstGeom>
          <a:solidFill>
            <a:srgbClr val="9D1E27"/>
          </a:solidFill>
          <a:ln>
            <a:solidFill>
              <a:srgbClr val="9D1E2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92" name="TextBox 1091">
            <a:extLst>
              <a:ext uri="{FF2B5EF4-FFF2-40B4-BE49-F238E27FC236}">
                <a16:creationId xmlns:a16="http://schemas.microsoft.com/office/drawing/2014/main" id="{11233D17-06D4-AC2D-3D9B-A5EAF54C4855}"/>
              </a:ext>
            </a:extLst>
          </p:cNvPr>
          <p:cNvSpPr txBox="1"/>
          <p:nvPr/>
        </p:nvSpPr>
        <p:spPr>
          <a:xfrm>
            <a:off x="11316061" y="4587241"/>
            <a:ext cx="735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b="1">
                <a:solidFill>
                  <a:srgbClr val="9D1E27"/>
                </a:solidFill>
              </a:rPr>
              <a:t>8-10 pts</a:t>
            </a:r>
          </a:p>
        </p:txBody>
      </p:sp>
    </p:spTree>
    <p:extLst>
      <p:ext uri="{BB962C8B-B14F-4D97-AF65-F5344CB8AC3E}">
        <p14:creationId xmlns:p14="http://schemas.microsoft.com/office/powerpoint/2010/main" val="1492403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531451-AB3B-4208-0C53-A61115C8D5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4" descr="A red rectangular sign with white text&#10;&#10;AI-generated content may be incorrect.">
            <a:extLst>
              <a:ext uri="{FF2B5EF4-FFF2-40B4-BE49-F238E27FC236}">
                <a16:creationId xmlns:a16="http://schemas.microsoft.com/office/drawing/2014/main" id="{7074B50F-7747-D629-51F9-15D042B6825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rcRect l="8612" t="30022" r="8263" b="29469"/>
          <a:stretch>
            <a:fillRect/>
          </a:stretch>
        </p:blipFill>
        <p:spPr>
          <a:xfrm>
            <a:off x="11157547" y="6492418"/>
            <a:ext cx="991635" cy="36271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73E9F40-B639-C30B-4307-C5AEFEC640B7}"/>
              </a:ext>
            </a:extLst>
          </p:cNvPr>
          <p:cNvSpPr txBox="1"/>
          <p:nvPr/>
        </p:nvSpPr>
        <p:spPr>
          <a:xfrm>
            <a:off x="169818" y="309478"/>
            <a:ext cx="5926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b="1" i="1">
                <a:solidFill>
                  <a:srgbClr val="9D1E27"/>
                </a:solidFill>
              </a:rPr>
              <a:t>Gap #1: Lack of Actionability in Existing Search Feat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8153716-215D-CA70-13DC-065B3A3A5878}"/>
              </a:ext>
            </a:extLst>
          </p:cNvPr>
          <p:cNvSpPr txBox="1"/>
          <p:nvPr/>
        </p:nvSpPr>
        <p:spPr>
          <a:xfrm>
            <a:off x="614514" y="6536463"/>
            <a:ext cx="1901387" cy="261610"/>
          </a:xfrm>
          <a:prstGeom prst="rect">
            <a:avLst/>
          </a:prstGeom>
          <a:solidFill>
            <a:srgbClr val="9D1E27"/>
          </a:solidFill>
        </p:spPr>
        <p:txBody>
          <a:bodyPr wrap="square" rtlCol="0" anchor="ctr">
            <a:spAutoFit/>
          </a:bodyPr>
          <a:lstStyle/>
          <a:p>
            <a:r>
              <a:rPr lang="en-US" sz="1100" b="1">
                <a:solidFill>
                  <a:schemeClr val="bg1"/>
                </a:solidFill>
                <a:latin typeface="ADLaM Display" panose="02010000000000000000" pitchFamily="2" charset="77"/>
                <a:ea typeface="ADLaM Display" panose="02010000000000000000" pitchFamily="2" charset="77"/>
                <a:cs typeface="ADLaM Display" panose="02010000000000000000" pitchFamily="2" charset="77"/>
              </a:rPr>
              <a:t>The Ambassadors of Quan</a:t>
            </a:r>
          </a:p>
        </p:txBody>
      </p:sp>
      <p:sp>
        <p:nvSpPr>
          <p:cNvPr id="7" name="Chevron 17">
            <a:extLst>
              <a:ext uri="{FF2B5EF4-FFF2-40B4-BE49-F238E27FC236}">
                <a16:creationId xmlns:a16="http://schemas.microsoft.com/office/drawing/2014/main" id="{FEE0C4E3-21E3-A499-62BC-07B4D39DF61F}"/>
              </a:ext>
            </a:extLst>
          </p:cNvPr>
          <p:cNvSpPr/>
          <p:nvPr/>
        </p:nvSpPr>
        <p:spPr>
          <a:xfrm>
            <a:off x="369225" y="6503191"/>
            <a:ext cx="225486" cy="333905"/>
          </a:xfrm>
          <a:prstGeom prst="chevron">
            <a:avLst/>
          </a:prstGeom>
          <a:solidFill>
            <a:srgbClr val="9D1E2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Chevron 18">
            <a:extLst>
              <a:ext uri="{FF2B5EF4-FFF2-40B4-BE49-F238E27FC236}">
                <a16:creationId xmlns:a16="http://schemas.microsoft.com/office/drawing/2014/main" id="{6662075B-2641-051D-CB8F-F52298AB83D3}"/>
              </a:ext>
            </a:extLst>
          </p:cNvPr>
          <p:cNvSpPr/>
          <p:nvPr/>
        </p:nvSpPr>
        <p:spPr>
          <a:xfrm>
            <a:off x="235049" y="6503191"/>
            <a:ext cx="225486" cy="333905"/>
          </a:xfrm>
          <a:prstGeom prst="chevron">
            <a:avLst/>
          </a:prstGeom>
          <a:solidFill>
            <a:srgbClr val="9D1E2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Chevron 19">
            <a:extLst>
              <a:ext uri="{FF2B5EF4-FFF2-40B4-BE49-F238E27FC236}">
                <a16:creationId xmlns:a16="http://schemas.microsoft.com/office/drawing/2014/main" id="{433505D3-0B70-1102-D783-0700671D0697}"/>
              </a:ext>
            </a:extLst>
          </p:cNvPr>
          <p:cNvSpPr/>
          <p:nvPr/>
        </p:nvSpPr>
        <p:spPr>
          <a:xfrm>
            <a:off x="100874" y="6503191"/>
            <a:ext cx="225486" cy="333905"/>
          </a:xfrm>
          <a:prstGeom prst="chevron">
            <a:avLst/>
          </a:prstGeom>
          <a:solidFill>
            <a:srgbClr val="9D1E2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90B3D2-89EA-1FB0-C452-8702D84BCEFE}"/>
              </a:ext>
            </a:extLst>
          </p:cNvPr>
          <p:cNvCxnSpPr>
            <a:cxnSpLocks/>
          </p:cNvCxnSpPr>
          <p:nvPr/>
        </p:nvCxnSpPr>
        <p:spPr>
          <a:xfrm>
            <a:off x="33956" y="6453227"/>
            <a:ext cx="12158044" cy="0"/>
          </a:xfrm>
          <a:prstGeom prst="line">
            <a:avLst/>
          </a:prstGeom>
          <a:ln>
            <a:solidFill>
              <a:srgbClr val="9D1E2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028B5CF0-15C7-C0A3-C604-9A4AE131F9FD}"/>
              </a:ext>
            </a:extLst>
          </p:cNvPr>
          <p:cNvSpPr txBox="1"/>
          <p:nvPr/>
        </p:nvSpPr>
        <p:spPr>
          <a:xfrm>
            <a:off x="2504279" y="6536463"/>
            <a:ext cx="109957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/>
              <a:t>Note: </a:t>
            </a:r>
            <a:r>
              <a:rPr lang="en-IN" sz="1050"/>
              <a:t>Refer </a:t>
            </a:r>
            <a:r>
              <a:rPr lang="en-IN" sz="1050">
                <a:hlinkClick r:id="rId8" action="ppaction://hlinksldjump"/>
              </a:rPr>
              <a:t>Exhibits 1</a:t>
            </a:r>
            <a:r>
              <a:rPr lang="en-IN" sz="1050"/>
              <a:t> and </a:t>
            </a:r>
            <a:r>
              <a:rPr lang="en-IN" sz="1050">
                <a:hlinkClick r:id="rId9" action="ppaction://hlinksldjump"/>
              </a:rPr>
              <a:t>Exhibit 2</a:t>
            </a:r>
            <a:r>
              <a:rPr lang="en-IN" sz="1050"/>
              <a:t> for more information on the suggested strategic ideas</a:t>
            </a:r>
            <a:endParaRPr lang="en-IN" sz="105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DE7BEB3-B443-052A-B559-9675D5F073A4}"/>
              </a:ext>
            </a:extLst>
          </p:cNvPr>
          <p:cNvCxnSpPr>
            <a:cxnSpLocks/>
          </p:cNvCxnSpPr>
          <p:nvPr/>
        </p:nvCxnSpPr>
        <p:spPr>
          <a:xfrm>
            <a:off x="6117771" y="404261"/>
            <a:ext cx="0" cy="5904464"/>
          </a:xfrm>
          <a:prstGeom prst="line">
            <a:avLst/>
          </a:prstGeom>
          <a:ln>
            <a:solidFill>
              <a:srgbClr val="9D1E2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Arrow: Chevron 10">
            <a:extLst>
              <a:ext uri="{FF2B5EF4-FFF2-40B4-BE49-F238E27FC236}">
                <a16:creationId xmlns:a16="http://schemas.microsoft.com/office/drawing/2014/main" id="{953B60CB-838F-A53F-A380-A1B9E1D9C130}"/>
              </a:ext>
            </a:extLst>
          </p:cNvPr>
          <p:cNvSpPr/>
          <p:nvPr/>
        </p:nvSpPr>
        <p:spPr>
          <a:xfrm>
            <a:off x="203366" y="669132"/>
            <a:ext cx="5832000" cy="252000"/>
          </a:xfrm>
          <a:prstGeom prst="chevron">
            <a:avLst>
              <a:gd name="adj" fmla="val 34868"/>
            </a:avLst>
          </a:prstGeom>
          <a:solidFill>
            <a:srgbClr val="9D1E27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>
              <a:lnSpc>
                <a:spcPct val="90000"/>
              </a:lnSpc>
              <a:spcBef>
                <a:spcPct val="0"/>
              </a:spcBef>
            </a:pPr>
            <a:r>
              <a:rPr lang="en-US" sz="1400" b="1" i="1"/>
              <a:t>What It Takes to Complete a Simple Task Today</a:t>
            </a:r>
            <a:endParaRPr lang="en-IN" sz="1400" b="1" i="1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>
        <p:nvSpPr>
          <p:cNvPr id="29" name="Arrow: Chevron 10">
            <a:extLst>
              <a:ext uri="{FF2B5EF4-FFF2-40B4-BE49-F238E27FC236}">
                <a16:creationId xmlns:a16="http://schemas.microsoft.com/office/drawing/2014/main" id="{AC12A68C-32B9-CD2C-CCBD-1DF2354CE1E6}"/>
              </a:ext>
            </a:extLst>
          </p:cNvPr>
          <p:cNvSpPr/>
          <p:nvPr/>
        </p:nvSpPr>
        <p:spPr>
          <a:xfrm>
            <a:off x="6155692" y="669132"/>
            <a:ext cx="5832000" cy="252000"/>
          </a:xfrm>
          <a:prstGeom prst="chevron">
            <a:avLst>
              <a:gd name="adj" fmla="val 34868"/>
            </a:avLst>
          </a:prstGeom>
          <a:solidFill>
            <a:srgbClr val="9D1E27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2004" rIns="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>
              <a:lnSpc>
                <a:spcPct val="90000"/>
              </a:lnSpc>
              <a:spcBef>
                <a:spcPct val="0"/>
              </a:spcBef>
            </a:pPr>
            <a:r>
              <a:rPr lang="en-IN" sz="1400" b="1">
                <a:solidFill>
                  <a:schemeClr val="bg1"/>
                </a:solidFill>
                <a:cs typeface="Calibri" panose="020F0502020204030204" pitchFamily="34" charset="0"/>
              </a:rPr>
              <a:t>Revamp expense management and map relevant reward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1C43659-3C81-6F9E-F571-A28BB71583C7}"/>
              </a:ext>
            </a:extLst>
          </p:cNvPr>
          <p:cNvSpPr txBox="1"/>
          <p:nvPr/>
        </p:nvSpPr>
        <p:spPr>
          <a:xfrm>
            <a:off x="6143472" y="321915"/>
            <a:ext cx="58564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>
                <a:solidFill>
                  <a:srgbClr val="9D1E27"/>
                </a:solidFill>
              </a:rPr>
              <a:t>Gap #2: A Broken Reward Redemption Journey</a:t>
            </a:r>
            <a:endParaRPr lang="en-IN" b="1" i="1">
              <a:solidFill>
                <a:srgbClr val="9D1E27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40823E4-48E5-8555-5727-0601C6273634}"/>
              </a:ext>
            </a:extLst>
          </p:cNvPr>
          <p:cNvSpPr txBox="1"/>
          <p:nvPr/>
        </p:nvSpPr>
        <p:spPr>
          <a:xfrm>
            <a:off x="311880" y="971841"/>
            <a:ext cx="5586396" cy="276999"/>
          </a:xfrm>
          <a:prstGeom prst="rect">
            <a:avLst/>
          </a:prstGeom>
          <a:noFill/>
          <a:ln>
            <a:solidFill>
              <a:srgbClr val="9D1E27"/>
            </a:solidFill>
          </a:ln>
        </p:spPr>
        <p:txBody>
          <a:bodyPr wrap="square" rtlCol="0">
            <a:spAutoFit/>
          </a:bodyPr>
          <a:lstStyle/>
          <a:p>
            <a:r>
              <a:rPr lang="en-IN" sz="1200" b="1">
                <a:solidFill>
                  <a:srgbClr val="9D1E27"/>
                </a:solidFill>
              </a:rPr>
              <a:t>Task:</a:t>
            </a:r>
            <a:r>
              <a:rPr lang="en-IN" sz="1200" b="1" i="1">
                <a:solidFill>
                  <a:srgbClr val="9D1E27"/>
                </a:solidFill>
              </a:rPr>
              <a:t> </a:t>
            </a:r>
            <a:r>
              <a:rPr lang="en-US" sz="1200" b="1" i="1">
                <a:solidFill>
                  <a:srgbClr val="9D1E27"/>
                </a:solidFill>
              </a:rPr>
              <a:t>Find all Zomato expenses from my HDFC account in the last 2 weeks.</a:t>
            </a:r>
            <a:endParaRPr lang="en-IN" sz="1200" b="1" i="1">
              <a:solidFill>
                <a:srgbClr val="9D1E27"/>
              </a:solidFill>
            </a:endParaRP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6248C50C-B963-ACDE-2C7F-AE5C398BC17D}"/>
              </a:ext>
            </a:extLst>
          </p:cNvPr>
          <p:cNvGrpSpPr/>
          <p:nvPr/>
        </p:nvGrpSpPr>
        <p:grpSpPr>
          <a:xfrm>
            <a:off x="9108754" y="1287651"/>
            <a:ext cx="1407007" cy="640261"/>
            <a:chOff x="8948385" y="1287651"/>
            <a:chExt cx="1407007" cy="640261"/>
          </a:xfrm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20067AC-9166-6EBE-F764-19668BCA9AB7}"/>
                </a:ext>
              </a:extLst>
            </p:cNvPr>
            <p:cNvSpPr/>
            <p:nvPr/>
          </p:nvSpPr>
          <p:spPr>
            <a:xfrm>
              <a:off x="8948385" y="1287651"/>
              <a:ext cx="1407007" cy="281642"/>
            </a:xfrm>
            <a:custGeom>
              <a:avLst/>
              <a:gdLst>
                <a:gd name="connsiteX0" fmla="*/ 0 w 1086280"/>
                <a:gd name="connsiteY0" fmla="*/ 0 h 389478"/>
                <a:gd name="connsiteX1" fmla="*/ 1086280 w 1086280"/>
                <a:gd name="connsiteY1" fmla="*/ 0 h 389478"/>
                <a:gd name="connsiteX2" fmla="*/ 1086280 w 1086280"/>
                <a:gd name="connsiteY2" fmla="*/ 389478 h 389478"/>
                <a:gd name="connsiteX3" fmla="*/ 0 w 1086280"/>
                <a:gd name="connsiteY3" fmla="*/ 389478 h 389478"/>
                <a:gd name="connsiteX4" fmla="*/ 0 w 1086280"/>
                <a:gd name="connsiteY4" fmla="*/ 0 h 389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6280" h="389478">
                  <a:moveTo>
                    <a:pt x="0" y="0"/>
                  </a:moveTo>
                  <a:lnTo>
                    <a:pt x="1086280" y="0"/>
                  </a:lnTo>
                  <a:lnTo>
                    <a:pt x="1086280" y="389478"/>
                  </a:lnTo>
                  <a:lnTo>
                    <a:pt x="0" y="3894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D1E27"/>
            </a:solidFill>
            <a:ln>
              <a:solidFill>
                <a:srgbClr val="9D1E27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6000" tIns="36000" rIns="36000" bIns="36000" numCol="1" spcCol="1270" anchor="ctr" anchorCtr="1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000" b="1" kern="1200"/>
                <a:t>Not matched to my spends</a:t>
              </a:r>
              <a:endParaRPr lang="en-IN" sz="1000" b="1" kern="12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07BD3F2F-85A9-89E8-03FB-E0F97E66B717}"/>
                </a:ext>
              </a:extLst>
            </p:cNvPr>
            <p:cNvSpPr/>
            <p:nvPr/>
          </p:nvSpPr>
          <p:spPr>
            <a:xfrm>
              <a:off x="8948385" y="1598183"/>
              <a:ext cx="1407007" cy="329729"/>
            </a:xfrm>
            <a:custGeom>
              <a:avLst/>
              <a:gdLst>
                <a:gd name="connsiteX0" fmla="*/ 0 w 1086280"/>
                <a:gd name="connsiteY0" fmla="*/ 0 h 455978"/>
                <a:gd name="connsiteX1" fmla="*/ 1086280 w 1086280"/>
                <a:gd name="connsiteY1" fmla="*/ 0 h 455978"/>
                <a:gd name="connsiteX2" fmla="*/ 1086280 w 1086280"/>
                <a:gd name="connsiteY2" fmla="*/ 455978 h 455978"/>
                <a:gd name="connsiteX3" fmla="*/ 0 w 1086280"/>
                <a:gd name="connsiteY3" fmla="*/ 455978 h 455978"/>
                <a:gd name="connsiteX4" fmla="*/ 0 w 1086280"/>
                <a:gd name="connsiteY4" fmla="*/ 0 h 455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6280" h="455978">
                  <a:moveTo>
                    <a:pt x="0" y="0"/>
                  </a:moveTo>
                  <a:lnTo>
                    <a:pt x="1086280" y="0"/>
                  </a:lnTo>
                  <a:lnTo>
                    <a:pt x="1086280" y="455978"/>
                  </a:lnTo>
                  <a:lnTo>
                    <a:pt x="0" y="45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CDD3">
                <a:alpha val="90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000" tIns="36000" rIns="36000" bIns="36000" numCol="1" spcCol="1270" anchor="ctr" anchorCtr="1">
              <a:noAutofit/>
            </a:bodyPr>
            <a:lstStyle/>
            <a:p>
              <a:pPr marL="57150" lvl="1" indent="-5715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1000" kern="1200"/>
                <a:t>Generic, low-relevance offers</a:t>
              </a:r>
              <a:endParaRPr lang="en-IN" sz="1000" kern="1200"/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EC627395-6F28-8D70-31D1-E5612940D458}"/>
              </a:ext>
            </a:extLst>
          </p:cNvPr>
          <p:cNvGrpSpPr/>
          <p:nvPr/>
        </p:nvGrpSpPr>
        <p:grpSpPr>
          <a:xfrm>
            <a:off x="10592906" y="1286886"/>
            <a:ext cx="1407007" cy="640262"/>
            <a:chOff x="10488514" y="1293236"/>
            <a:chExt cx="1407007" cy="640262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1A4DCDF-26E8-A985-3844-FFC3FD1EE6CC}"/>
                </a:ext>
              </a:extLst>
            </p:cNvPr>
            <p:cNvSpPr/>
            <p:nvPr/>
          </p:nvSpPr>
          <p:spPr>
            <a:xfrm>
              <a:off x="10488514" y="1293236"/>
              <a:ext cx="1407007" cy="281642"/>
            </a:xfrm>
            <a:custGeom>
              <a:avLst/>
              <a:gdLst>
                <a:gd name="connsiteX0" fmla="*/ 0 w 1086280"/>
                <a:gd name="connsiteY0" fmla="*/ 0 h 389478"/>
                <a:gd name="connsiteX1" fmla="*/ 1086280 w 1086280"/>
                <a:gd name="connsiteY1" fmla="*/ 0 h 389478"/>
                <a:gd name="connsiteX2" fmla="*/ 1086280 w 1086280"/>
                <a:gd name="connsiteY2" fmla="*/ 389478 h 389478"/>
                <a:gd name="connsiteX3" fmla="*/ 0 w 1086280"/>
                <a:gd name="connsiteY3" fmla="*/ 389478 h 389478"/>
                <a:gd name="connsiteX4" fmla="*/ 0 w 1086280"/>
                <a:gd name="connsiteY4" fmla="*/ 0 h 389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6280" h="389478">
                  <a:moveTo>
                    <a:pt x="0" y="0"/>
                  </a:moveTo>
                  <a:lnTo>
                    <a:pt x="1086280" y="0"/>
                  </a:lnTo>
                  <a:lnTo>
                    <a:pt x="1086280" y="389478"/>
                  </a:lnTo>
                  <a:lnTo>
                    <a:pt x="0" y="3894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D1E27"/>
            </a:solidFill>
            <a:ln>
              <a:solidFill>
                <a:srgbClr val="9D1E27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6000" tIns="36000" rIns="36000" bIns="36000" numCol="1" spcCol="1270" anchor="ctr" anchorCtr="1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000" b="1" kern="1200"/>
                <a:t>Long Customer Journey</a:t>
              </a:r>
              <a:endParaRPr lang="en-IN" sz="1000" b="1" kern="120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AE73E96-FA43-0E10-2592-B457EDE1D4D1}"/>
                </a:ext>
              </a:extLst>
            </p:cNvPr>
            <p:cNvSpPr/>
            <p:nvPr/>
          </p:nvSpPr>
          <p:spPr>
            <a:xfrm>
              <a:off x="10488514" y="1603768"/>
              <a:ext cx="1407007" cy="329730"/>
            </a:xfrm>
            <a:custGeom>
              <a:avLst/>
              <a:gdLst>
                <a:gd name="connsiteX0" fmla="*/ 0 w 1086280"/>
                <a:gd name="connsiteY0" fmla="*/ 0 h 455978"/>
                <a:gd name="connsiteX1" fmla="*/ 1086280 w 1086280"/>
                <a:gd name="connsiteY1" fmla="*/ 0 h 455978"/>
                <a:gd name="connsiteX2" fmla="*/ 1086280 w 1086280"/>
                <a:gd name="connsiteY2" fmla="*/ 455978 h 455978"/>
                <a:gd name="connsiteX3" fmla="*/ 0 w 1086280"/>
                <a:gd name="connsiteY3" fmla="*/ 455978 h 455978"/>
                <a:gd name="connsiteX4" fmla="*/ 0 w 1086280"/>
                <a:gd name="connsiteY4" fmla="*/ 0 h 455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6280" h="455978">
                  <a:moveTo>
                    <a:pt x="0" y="0"/>
                  </a:moveTo>
                  <a:lnTo>
                    <a:pt x="1086280" y="0"/>
                  </a:lnTo>
                  <a:lnTo>
                    <a:pt x="1086280" y="455978"/>
                  </a:lnTo>
                  <a:lnTo>
                    <a:pt x="0" y="45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CDD3">
                <a:alpha val="90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000" tIns="36000" rIns="36000" bIns="36000" numCol="1" spcCol="1270" anchor="ctr" anchorCtr="1">
              <a:noAutofit/>
            </a:bodyPr>
            <a:lstStyle/>
            <a:p>
              <a:pPr marL="57150" lvl="1" indent="-5715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1000" kern="1200"/>
                <a:t>Extra steps, logins, minimums/fees</a:t>
              </a:r>
              <a:endParaRPr lang="en-IN" sz="1000" kern="1200"/>
            </a:p>
          </p:txBody>
        </p:sp>
      </p:grpSp>
      <p:pic>
        <p:nvPicPr>
          <p:cNvPr id="35" name="Graphic 34" descr="Badge 6 with solid fill">
            <a:extLst>
              <a:ext uri="{FF2B5EF4-FFF2-40B4-BE49-F238E27FC236}">
                <a16:creationId xmlns:a16="http://schemas.microsoft.com/office/drawing/2014/main" id="{B620D198-B75A-397D-CC30-598FD782C67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110274" y="3198173"/>
            <a:ext cx="432877" cy="432877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5A3310BD-7551-5D58-85DA-A75CDABB453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122947" y="2162281"/>
            <a:ext cx="1761306" cy="1108650"/>
          </a:xfrm>
          <a:prstGeom prst="rect">
            <a:avLst/>
          </a:prstGeom>
        </p:spPr>
      </p:pic>
      <p:pic>
        <p:nvPicPr>
          <p:cNvPr id="66" name="Graphic 65" descr="Badge with solid fill">
            <a:extLst>
              <a:ext uri="{FF2B5EF4-FFF2-40B4-BE49-F238E27FC236}">
                <a16:creationId xmlns:a16="http://schemas.microsoft.com/office/drawing/2014/main" id="{5A19B72F-50DE-8B08-5E77-3266C65920B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776338" y="3186300"/>
            <a:ext cx="449012" cy="449012"/>
          </a:xfrm>
          <a:prstGeom prst="rect">
            <a:avLst/>
          </a:prstGeom>
        </p:spPr>
      </p:pic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C5ED0307-398F-C98D-1615-407D4B85774E}"/>
              </a:ext>
            </a:extLst>
          </p:cNvPr>
          <p:cNvSpPr/>
          <p:nvPr/>
        </p:nvSpPr>
        <p:spPr>
          <a:xfrm>
            <a:off x="1895894" y="1334297"/>
            <a:ext cx="1682017" cy="281642"/>
          </a:xfrm>
          <a:custGeom>
            <a:avLst/>
            <a:gdLst>
              <a:gd name="connsiteX0" fmla="*/ 0 w 1086280"/>
              <a:gd name="connsiteY0" fmla="*/ 0 h 389478"/>
              <a:gd name="connsiteX1" fmla="*/ 1086280 w 1086280"/>
              <a:gd name="connsiteY1" fmla="*/ 0 h 389478"/>
              <a:gd name="connsiteX2" fmla="*/ 1086280 w 1086280"/>
              <a:gd name="connsiteY2" fmla="*/ 389478 h 389478"/>
              <a:gd name="connsiteX3" fmla="*/ 0 w 1086280"/>
              <a:gd name="connsiteY3" fmla="*/ 389478 h 389478"/>
              <a:gd name="connsiteX4" fmla="*/ 0 w 1086280"/>
              <a:gd name="connsiteY4" fmla="*/ 0 h 389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280" h="389478">
                <a:moveTo>
                  <a:pt x="0" y="0"/>
                </a:moveTo>
                <a:lnTo>
                  <a:pt x="1086280" y="0"/>
                </a:lnTo>
                <a:lnTo>
                  <a:pt x="1086280" y="389478"/>
                </a:lnTo>
                <a:lnTo>
                  <a:pt x="0" y="389478"/>
                </a:lnTo>
                <a:lnTo>
                  <a:pt x="0" y="0"/>
                </a:lnTo>
                <a:close/>
              </a:path>
            </a:pathLst>
          </a:custGeom>
          <a:solidFill>
            <a:srgbClr val="9D1E27"/>
          </a:solidFill>
          <a:ln>
            <a:solidFill>
              <a:srgbClr val="9D1E27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1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00" b="1"/>
              <a:t>Too Many Clicks</a:t>
            </a:r>
            <a:endParaRPr lang="en-IN" sz="1000" b="1" kern="1200"/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C4899CDD-F578-C4B0-B4A9-18EB46FFB89A}"/>
              </a:ext>
            </a:extLst>
          </p:cNvPr>
          <p:cNvSpPr/>
          <p:nvPr/>
        </p:nvSpPr>
        <p:spPr>
          <a:xfrm>
            <a:off x="1895894" y="1644828"/>
            <a:ext cx="1682017" cy="329730"/>
          </a:xfrm>
          <a:custGeom>
            <a:avLst/>
            <a:gdLst>
              <a:gd name="connsiteX0" fmla="*/ 0 w 1086280"/>
              <a:gd name="connsiteY0" fmla="*/ 0 h 455978"/>
              <a:gd name="connsiteX1" fmla="*/ 1086280 w 1086280"/>
              <a:gd name="connsiteY1" fmla="*/ 0 h 455978"/>
              <a:gd name="connsiteX2" fmla="*/ 1086280 w 1086280"/>
              <a:gd name="connsiteY2" fmla="*/ 455978 h 455978"/>
              <a:gd name="connsiteX3" fmla="*/ 0 w 1086280"/>
              <a:gd name="connsiteY3" fmla="*/ 455978 h 455978"/>
              <a:gd name="connsiteX4" fmla="*/ 0 w 1086280"/>
              <a:gd name="connsiteY4" fmla="*/ 0 h 455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280" h="455978">
                <a:moveTo>
                  <a:pt x="0" y="0"/>
                </a:moveTo>
                <a:lnTo>
                  <a:pt x="1086280" y="0"/>
                </a:lnTo>
                <a:lnTo>
                  <a:pt x="1086280" y="455978"/>
                </a:lnTo>
                <a:lnTo>
                  <a:pt x="0" y="455978"/>
                </a:lnTo>
                <a:lnTo>
                  <a:pt x="0" y="0"/>
                </a:lnTo>
                <a:close/>
              </a:path>
            </a:pathLst>
          </a:custGeom>
          <a:solidFill>
            <a:srgbClr val="F6CDD3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36000" bIns="36000" numCol="1" spcCol="1270" anchor="ctr" anchorCtr="1">
            <a:noAutofit/>
          </a:bodyPr>
          <a:lstStyle/>
          <a:p>
            <a:pPr marL="57150" lvl="1" indent="-57150" algn="ctr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en-US" sz="1000"/>
              <a:t>Simple tasks take </a:t>
            </a:r>
            <a:r>
              <a:rPr lang="en-US" sz="1000" b="1"/>
              <a:t>6–7 taps </a:t>
            </a:r>
            <a:r>
              <a:rPr lang="en-US" sz="1000"/>
              <a:t>to finish</a:t>
            </a:r>
            <a:endParaRPr lang="en-IN" sz="1000" kern="1200"/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D3ADEB-8ECD-2A25-E165-A81D35676B61}"/>
              </a:ext>
            </a:extLst>
          </p:cNvPr>
          <p:cNvSpPr/>
          <p:nvPr/>
        </p:nvSpPr>
        <p:spPr>
          <a:xfrm>
            <a:off x="4101559" y="1343318"/>
            <a:ext cx="1682022" cy="281642"/>
          </a:xfrm>
          <a:custGeom>
            <a:avLst/>
            <a:gdLst>
              <a:gd name="connsiteX0" fmla="*/ 0 w 1086280"/>
              <a:gd name="connsiteY0" fmla="*/ 0 h 389478"/>
              <a:gd name="connsiteX1" fmla="*/ 1086280 w 1086280"/>
              <a:gd name="connsiteY1" fmla="*/ 0 h 389478"/>
              <a:gd name="connsiteX2" fmla="*/ 1086280 w 1086280"/>
              <a:gd name="connsiteY2" fmla="*/ 389478 h 389478"/>
              <a:gd name="connsiteX3" fmla="*/ 0 w 1086280"/>
              <a:gd name="connsiteY3" fmla="*/ 389478 h 389478"/>
              <a:gd name="connsiteX4" fmla="*/ 0 w 1086280"/>
              <a:gd name="connsiteY4" fmla="*/ 0 h 389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280" h="389478">
                <a:moveTo>
                  <a:pt x="0" y="0"/>
                </a:moveTo>
                <a:lnTo>
                  <a:pt x="1086280" y="0"/>
                </a:lnTo>
                <a:lnTo>
                  <a:pt x="1086280" y="389478"/>
                </a:lnTo>
                <a:lnTo>
                  <a:pt x="0" y="389478"/>
                </a:lnTo>
                <a:lnTo>
                  <a:pt x="0" y="0"/>
                </a:lnTo>
                <a:close/>
              </a:path>
            </a:pathLst>
          </a:custGeom>
          <a:solidFill>
            <a:srgbClr val="9D1E27"/>
          </a:solidFill>
          <a:ln>
            <a:solidFill>
              <a:srgbClr val="9D1E27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1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00" b="1"/>
              <a:t>Fragmented Journeys</a:t>
            </a:r>
            <a:endParaRPr lang="en-IN" sz="1000" b="1" kern="1200"/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D3C0C0C6-7DB2-9E95-8B1F-8C016C75194D}"/>
              </a:ext>
            </a:extLst>
          </p:cNvPr>
          <p:cNvSpPr/>
          <p:nvPr/>
        </p:nvSpPr>
        <p:spPr>
          <a:xfrm>
            <a:off x="4101559" y="1653849"/>
            <a:ext cx="1682022" cy="329730"/>
          </a:xfrm>
          <a:custGeom>
            <a:avLst/>
            <a:gdLst>
              <a:gd name="connsiteX0" fmla="*/ 0 w 1086280"/>
              <a:gd name="connsiteY0" fmla="*/ 0 h 455978"/>
              <a:gd name="connsiteX1" fmla="*/ 1086280 w 1086280"/>
              <a:gd name="connsiteY1" fmla="*/ 0 h 455978"/>
              <a:gd name="connsiteX2" fmla="*/ 1086280 w 1086280"/>
              <a:gd name="connsiteY2" fmla="*/ 455978 h 455978"/>
              <a:gd name="connsiteX3" fmla="*/ 0 w 1086280"/>
              <a:gd name="connsiteY3" fmla="*/ 455978 h 455978"/>
              <a:gd name="connsiteX4" fmla="*/ 0 w 1086280"/>
              <a:gd name="connsiteY4" fmla="*/ 0 h 455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280" h="455978">
                <a:moveTo>
                  <a:pt x="0" y="0"/>
                </a:moveTo>
                <a:lnTo>
                  <a:pt x="1086280" y="0"/>
                </a:lnTo>
                <a:lnTo>
                  <a:pt x="1086280" y="455978"/>
                </a:lnTo>
                <a:lnTo>
                  <a:pt x="0" y="455978"/>
                </a:lnTo>
                <a:lnTo>
                  <a:pt x="0" y="0"/>
                </a:lnTo>
                <a:close/>
              </a:path>
            </a:pathLst>
          </a:custGeom>
          <a:solidFill>
            <a:srgbClr val="F6CDD3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36000" bIns="36000" numCol="1" spcCol="1270" anchor="ctr" anchorCtr="1">
            <a:noAutofit/>
          </a:bodyPr>
          <a:lstStyle/>
          <a:p>
            <a:pPr marL="57150" lvl="1" indent="-57150" algn="ctr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en-US" sz="1000"/>
              <a:t>Each task is buried in </a:t>
            </a:r>
            <a:r>
              <a:rPr lang="en-US" sz="1000" b="1"/>
              <a:t>separate sections</a:t>
            </a:r>
            <a:endParaRPr lang="en-IN" sz="1000" kern="1200"/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56B7A4E2-01F4-F748-F02A-A72229AA87D9}"/>
              </a:ext>
            </a:extLst>
          </p:cNvPr>
          <p:cNvSpPr/>
          <p:nvPr/>
        </p:nvSpPr>
        <p:spPr>
          <a:xfrm>
            <a:off x="1895896" y="2118108"/>
            <a:ext cx="1682015" cy="281642"/>
          </a:xfrm>
          <a:custGeom>
            <a:avLst/>
            <a:gdLst>
              <a:gd name="connsiteX0" fmla="*/ 0 w 1086280"/>
              <a:gd name="connsiteY0" fmla="*/ 0 h 389478"/>
              <a:gd name="connsiteX1" fmla="*/ 1086280 w 1086280"/>
              <a:gd name="connsiteY1" fmla="*/ 0 h 389478"/>
              <a:gd name="connsiteX2" fmla="*/ 1086280 w 1086280"/>
              <a:gd name="connsiteY2" fmla="*/ 389478 h 389478"/>
              <a:gd name="connsiteX3" fmla="*/ 0 w 1086280"/>
              <a:gd name="connsiteY3" fmla="*/ 389478 h 389478"/>
              <a:gd name="connsiteX4" fmla="*/ 0 w 1086280"/>
              <a:gd name="connsiteY4" fmla="*/ 0 h 389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280" h="389478">
                <a:moveTo>
                  <a:pt x="0" y="0"/>
                </a:moveTo>
                <a:lnTo>
                  <a:pt x="1086280" y="0"/>
                </a:lnTo>
                <a:lnTo>
                  <a:pt x="1086280" y="389478"/>
                </a:lnTo>
                <a:lnTo>
                  <a:pt x="0" y="389478"/>
                </a:lnTo>
                <a:lnTo>
                  <a:pt x="0" y="0"/>
                </a:lnTo>
                <a:close/>
              </a:path>
            </a:pathLst>
          </a:custGeom>
          <a:solidFill>
            <a:srgbClr val="9D1E27"/>
          </a:solidFill>
          <a:ln>
            <a:solidFill>
              <a:srgbClr val="9D1E27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1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00" b="1"/>
              <a:t>Poor Visibility of Features</a:t>
            </a:r>
            <a:endParaRPr lang="en-IN" sz="1000" b="1" kern="1200"/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AF792A8F-2297-7055-304B-7A228378BC25}"/>
              </a:ext>
            </a:extLst>
          </p:cNvPr>
          <p:cNvSpPr/>
          <p:nvPr/>
        </p:nvSpPr>
        <p:spPr>
          <a:xfrm>
            <a:off x="1895896" y="2428639"/>
            <a:ext cx="1682015" cy="329730"/>
          </a:xfrm>
          <a:custGeom>
            <a:avLst/>
            <a:gdLst>
              <a:gd name="connsiteX0" fmla="*/ 0 w 1086280"/>
              <a:gd name="connsiteY0" fmla="*/ 0 h 455978"/>
              <a:gd name="connsiteX1" fmla="*/ 1086280 w 1086280"/>
              <a:gd name="connsiteY1" fmla="*/ 0 h 455978"/>
              <a:gd name="connsiteX2" fmla="*/ 1086280 w 1086280"/>
              <a:gd name="connsiteY2" fmla="*/ 455978 h 455978"/>
              <a:gd name="connsiteX3" fmla="*/ 0 w 1086280"/>
              <a:gd name="connsiteY3" fmla="*/ 455978 h 455978"/>
              <a:gd name="connsiteX4" fmla="*/ 0 w 1086280"/>
              <a:gd name="connsiteY4" fmla="*/ 0 h 455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280" h="455978">
                <a:moveTo>
                  <a:pt x="0" y="0"/>
                </a:moveTo>
                <a:lnTo>
                  <a:pt x="1086280" y="0"/>
                </a:lnTo>
                <a:lnTo>
                  <a:pt x="1086280" y="455978"/>
                </a:lnTo>
                <a:lnTo>
                  <a:pt x="0" y="455978"/>
                </a:lnTo>
                <a:lnTo>
                  <a:pt x="0" y="0"/>
                </a:lnTo>
                <a:close/>
              </a:path>
            </a:pathLst>
          </a:custGeom>
          <a:solidFill>
            <a:srgbClr val="F6CDD3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36000" bIns="36000" numCol="1" spcCol="1270" anchor="ctr" anchorCtr="1">
            <a:noAutofit/>
          </a:bodyPr>
          <a:lstStyle/>
          <a:p>
            <a:pPr marL="57150" lvl="1" indent="-57150" algn="ctr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en-IN" sz="1000" kern="1200"/>
              <a:t>Many users </a:t>
            </a:r>
            <a:r>
              <a:rPr lang="en-IN" sz="1000"/>
              <a:t>are</a:t>
            </a:r>
            <a:r>
              <a:rPr lang="en-IN" sz="1000" kern="1200"/>
              <a:t> </a:t>
            </a:r>
            <a:r>
              <a:rPr lang="en-IN" sz="1000" b="1" kern="1200"/>
              <a:t>unaware of features</a:t>
            </a:r>
          </a:p>
        </p:txBody>
      </p:sp>
      <p:pic>
        <p:nvPicPr>
          <p:cNvPr id="84" name="FFFFF">
            <a:hlinkClick r:id="" action="ppaction://media"/>
            <a:extLst>
              <a:ext uri="{FF2B5EF4-FFF2-40B4-BE49-F238E27FC236}">
                <a16:creationId xmlns:a16="http://schemas.microsoft.com/office/drawing/2014/main" id="{EE1D843F-0193-441A-BEEE-82D05F649AA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5"/>
          <a:srcRect l="6656" r="4716"/>
          <a:stretch>
            <a:fillRect/>
          </a:stretch>
        </p:blipFill>
        <p:spPr>
          <a:xfrm>
            <a:off x="4454467" y="3204774"/>
            <a:ext cx="1623382" cy="318369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D5572F8-C566-59F5-502C-FCD8C13B924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01229" y="3956719"/>
            <a:ext cx="1733550" cy="2352006"/>
          </a:xfrm>
          <a:prstGeom prst="rect">
            <a:avLst/>
          </a:prstGeom>
        </p:spPr>
      </p:pic>
      <p:pic>
        <p:nvPicPr>
          <p:cNvPr id="86" name="cc">
            <a:hlinkClick r:id="" action="ppaction://media"/>
            <a:extLst>
              <a:ext uri="{FF2B5EF4-FFF2-40B4-BE49-F238E27FC236}">
                <a16:creationId xmlns:a16="http://schemas.microsoft.com/office/drawing/2014/main" id="{80AD0F6A-C456-0C92-2A43-7D4C5B2F752F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7"/>
          <a:srcRect l="2559"/>
          <a:stretch>
            <a:fillRect/>
          </a:stretch>
        </p:blipFill>
        <p:spPr>
          <a:xfrm>
            <a:off x="172233" y="1508294"/>
            <a:ext cx="1562850" cy="3038955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A8456AD0-B78B-2219-6E44-61116B645D1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493079" y="3267074"/>
            <a:ext cx="1506834" cy="3113543"/>
          </a:xfrm>
          <a:prstGeom prst="rect">
            <a:avLst/>
          </a:prstGeom>
        </p:spPr>
      </p:pic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68BC98B3-B983-82CB-B2FF-9F787FEB33E0}"/>
              </a:ext>
            </a:extLst>
          </p:cNvPr>
          <p:cNvSpPr/>
          <p:nvPr/>
        </p:nvSpPr>
        <p:spPr>
          <a:xfrm>
            <a:off x="4101559" y="2138008"/>
            <a:ext cx="1666208" cy="281642"/>
          </a:xfrm>
          <a:custGeom>
            <a:avLst/>
            <a:gdLst>
              <a:gd name="connsiteX0" fmla="*/ 0 w 1086280"/>
              <a:gd name="connsiteY0" fmla="*/ 0 h 389478"/>
              <a:gd name="connsiteX1" fmla="*/ 1086280 w 1086280"/>
              <a:gd name="connsiteY1" fmla="*/ 0 h 389478"/>
              <a:gd name="connsiteX2" fmla="*/ 1086280 w 1086280"/>
              <a:gd name="connsiteY2" fmla="*/ 389478 h 389478"/>
              <a:gd name="connsiteX3" fmla="*/ 0 w 1086280"/>
              <a:gd name="connsiteY3" fmla="*/ 389478 h 389478"/>
              <a:gd name="connsiteX4" fmla="*/ 0 w 1086280"/>
              <a:gd name="connsiteY4" fmla="*/ 0 h 389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280" h="389478">
                <a:moveTo>
                  <a:pt x="0" y="0"/>
                </a:moveTo>
                <a:lnTo>
                  <a:pt x="1086280" y="0"/>
                </a:lnTo>
                <a:lnTo>
                  <a:pt x="1086280" y="389478"/>
                </a:lnTo>
                <a:lnTo>
                  <a:pt x="0" y="389478"/>
                </a:lnTo>
                <a:lnTo>
                  <a:pt x="0" y="0"/>
                </a:lnTo>
                <a:close/>
              </a:path>
            </a:pathLst>
          </a:custGeom>
          <a:solidFill>
            <a:srgbClr val="9D1E27"/>
          </a:solidFill>
          <a:ln>
            <a:solidFill>
              <a:srgbClr val="9D1E27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1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000" b="1" kern="1200"/>
              <a:t>Lack of Executability</a:t>
            </a: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33D469E8-1CC9-4E71-C2D3-60F5F2299A04}"/>
              </a:ext>
            </a:extLst>
          </p:cNvPr>
          <p:cNvSpPr/>
          <p:nvPr/>
        </p:nvSpPr>
        <p:spPr>
          <a:xfrm>
            <a:off x="4101559" y="2448539"/>
            <a:ext cx="1666208" cy="329730"/>
          </a:xfrm>
          <a:custGeom>
            <a:avLst/>
            <a:gdLst>
              <a:gd name="connsiteX0" fmla="*/ 0 w 1086280"/>
              <a:gd name="connsiteY0" fmla="*/ 0 h 455978"/>
              <a:gd name="connsiteX1" fmla="*/ 1086280 w 1086280"/>
              <a:gd name="connsiteY1" fmla="*/ 0 h 455978"/>
              <a:gd name="connsiteX2" fmla="*/ 1086280 w 1086280"/>
              <a:gd name="connsiteY2" fmla="*/ 455978 h 455978"/>
              <a:gd name="connsiteX3" fmla="*/ 0 w 1086280"/>
              <a:gd name="connsiteY3" fmla="*/ 455978 h 455978"/>
              <a:gd name="connsiteX4" fmla="*/ 0 w 1086280"/>
              <a:gd name="connsiteY4" fmla="*/ 0 h 455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280" h="455978">
                <a:moveTo>
                  <a:pt x="0" y="0"/>
                </a:moveTo>
                <a:lnTo>
                  <a:pt x="1086280" y="0"/>
                </a:lnTo>
                <a:lnTo>
                  <a:pt x="1086280" y="455978"/>
                </a:lnTo>
                <a:lnTo>
                  <a:pt x="0" y="455978"/>
                </a:lnTo>
                <a:lnTo>
                  <a:pt x="0" y="0"/>
                </a:lnTo>
                <a:close/>
              </a:path>
            </a:pathLst>
          </a:custGeom>
          <a:solidFill>
            <a:srgbClr val="F6CDD3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36000" bIns="36000" numCol="1" spcCol="1270" anchor="ctr" anchorCtr="1">
            <a:noAutofit/>
          </a:bodyPr>
          <a:lstStyle/>
          <a:p>
            <a:pPr marL="57150" lvl="1" indent="-57150" algn="ctr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en-US" sz="1000"/>
              <a:t>Search behaves more like a </a:t>
            </a:r>
            <a:r>
              <a:rPr lang="en-US" sz="1000" b="1"/>
              <a:t>guide</a:t>
            </a:r>
            <a:r>
              <a:rPr lang="en-US" sz="1000"/>
              <a:t>, not like a </a:t>
            </a:r>
            <a:r>
              <a:rPr lang="en-US" sz="1000" b="1"/>
              <a:t>concierge</a:t>
            </a:r>
            <a:endParaRPr lang="en-IN" sz="1000" b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6C5AA5C-CEE1-1FA1-F111-A58F780C527A}"/>
              </a:ext>
            </a:extLst>
          </p:cNvPr>
          <p:cNvSpPr/>
          <p:nvPr/>
        </p:nvSpPr>
        <p:spPr>
          <a:xfrm>
            <a:off x="6176681" y="2201512"/>
            <a:ext cx="1953147" cy="384128"/>
          </a:xfrm>
          <a:prstGeom prst="rect">
            <a:avLst/>
          </a:prstGeom>
          <a:solidFill>
            <a:srgbClr val="F9F9F9"/>
          </a:solidFill>
          <a:ln>
            <a:solidFill>
              <a:srgbClr val="9D1E2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C926A05C-A1DE-18E1-6CA5-887BDB7C182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45989" y="2297211"/>
            <a:ext cx="130093" cy="20617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BC49BCD-1801-5698-C589-6ED07BB139E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549017" y="2296664"/>
            <a:ext cx="253726" cy="20727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7D6E408-43ED-0A90-0B73-32EE15EB9963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253468" y="2296664"/>
            <a:ext cx="136021" cy="20727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B47E79F7-8065-95D7-5590-3A7FCF8C8448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975678" y="2296664"/>
            <a:ext cx="104854" cy="20727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F906D211-D7F3-A8CA-7994-EAF03FFD048C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562422" y="2296664"/>
            <a:ext cx="126374" cy="207270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E007971D-14A6-B402-13F9-65C972AE55B9}"/>
              </a:ext>
            </a:extLst>
          </p:cNvPr>
          <p:cNvGrpSpPr/>
          <p:nvPr/>
        </p:nvGrpSpPr>
        <p:grpSpPr>
          <a:xfrm>
            <a:off x="7691830" y="2262898"/>
            <a:ext cx="474452" cy="274899"/>
            <a:chOff x="5169016" y="5239067"/>
            <a:chExt cx="704933" cy="353323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23204A26-36A0-9501-3225-489B020026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53044" y="5239067"/>
              <a:ext cx="340525" cy="342000"/>
            </a:xfrm>
            <a:prstGeom prst="roundRect">
              <a:avLst>
                <a:gd name="adj" fmla="val 13889"/>
              </a:avLst>
            </a:prstGeom>
            <a:solidFill>
              <a:srgbClr val="D09F42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FC65CC8-9A00-E740-0958-881808D5E37D}"/>
                </a:ext>
              </a:extLst>
            </p:cNvPr>
            <p:cNvSpPr txBox="1"/>
            <p:nvPr/>
          </p:nvSpPr>
          <p:spPr>
            <a:xfrm>
              <a:off x="5169016" y="5404490"/>
              <a:ext cx="704933" cy="187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350" b="1">
                  <a:solidFill>
                    <a:srgbClr val="9D1E27"/>
                  </a:solidFill>
                </a:rPr>
                <a:t>REWARDS</a:t>
              </a:r>
            </a:p>
          </p:txBody>
        </p:sp>
      </p:grpSp>
      <p:pic>
        <p:nvPicPr>
          <p:cNvPr id="65" name="Picture 64" descr="A red square with white text">
            <a:extLst>
              <a:ext uri="{FF2B5EF4-FFF2-40B4-BE49-F238E27FC236}">
                <a16:creationId xmlns:a16="http://schemas.microsoft.com/office/drawing/2014/main" id="{CC7C1E6F-755A-4E17-0CFD-41431277866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5"/>
              </a:ext>
            </a:extLst>
          </a:blip>
          <a:srcRect l="32936" t="16981" r="33488" b="17636"/>
          <a:stretch>
            <a:fillRect/>
          </a:stretch>
        </p:blipFill>
        <p:spPr>
          <a:xfrm>
            <a:off x="7877096" y="2302742"/>
            <a:ext cx="105712" cy="108072"/>
          </a:xfrm>
          <a:prstGeom prst="roundRect">
            <a:avLst/>
          </a:prstGeom>
        </p:spPr>
      </p:pic>
      <p:pic>
        <p:nvPicPr>
          <p:cNvPr id="56" name="Graphic 55" descr="Line arrow: Clockwise curve with solid fill">
            <a:extLst>
              <a:ext uri="{FF2B5EF4-FFF2-40B4-BE49-F238E27FC236}">
                <a16:creationId xmlns:a16="http://schemas.microsoft.com/office/drawing/2014/main" id="{B9E2FF99-9104-3E95-2D19-5FAFAEBFD3C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 rot="6762781">
            <a:off x="8047378" y="2090402"/>
            <a:ext cx="281251" cy="281251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0F8D92F5-5D5B-1E88-E7FB-3F67BB6E70ED}"/>
              </a:ext>
            </a:extLst>
          </p:cNvPr>
          <p:cNvSpPr txBox="1"/>
          <p:nvPr/>
        </p:nvSpPr>
        <p:spPr>
          <a:xfrm>
            <a:off x="8207092" y="2238670"/>
            <a:ext cx="1580009" cy="693371"/>
          </a:xfrm>
          <a:prstGeom prst="roundRect">
            <a:avLst/>
          </a:prstGeom>
          <a:noFill/>
          <a:ln>
            <a:solidFill>
              <a:srgbClr val="9D1E27"/>
            </a:solidFill>
          </a:ln>
        </p:spPr>
        <p:txBody>
          <a:bodyPr wrap="square" lIns="36000" tIns="36000" rIns="36000" bIns="36000" rtlCol="0">
            <a:spAutoFit/>
          </a:bodyPr>
          <a:lstStyle/>
          <a:p>
            <a:r>
              <a:rPr lang="en-IN" sz="1200"/>
              <a:t>Move </a:t>
            </a:r>
            <a:r>
              <a:rPr lang="en-IN" sz="1200" b="1">
                <a:solidFill>
                  <a:srgbClr val="9D1E27"/>
                </a:solidFill>
              </a:rPr>
              <a:t>Rewards</a:t>
            </a:r>
            <a:r>
              <a:rPr lang="en-IN" sz="1200"/>
              <a:t> to the </a:t>
            </a:r>
            <a:br>
              <a:rPr lang="en-IN" sz="1200"/>
            </a:br>
            <a:r>
              <a:rPr lang="en-IN" sz="1200"/>
              <a:t>Homepage, improving </a:t>
            </a:r>
            <a:r>
              <a:rPr lang="en-IN" sz="1200">
                <a:solidFill>
                  <a:srgbClr val="9D1E27"/>
                </a:solidFill>
              </a:rPr>
              <a:t>visibility</a:t>
            </a:r>
            <a:endParaRPr lang="en-IN" sz="120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958F4496-00A7-494F-826E-7B00F062AFA8}"/>
              </a:ext>
            </a:extLst>
          </p:cNvPr>
          <p:cNvSpPr/>
          <p:nvPr/>
        </p:nvSpPr>
        <p:spPr>
          <a:xfrm>
            <a:off x="170583" y="4775410"/>
            <a:ext cx="1767570" cy="1596579"/>
          </a:xfrm>
          <a:prstGeom prst="rect">
            <a:avLst/>
          </a:prstGeom>
          <a:solidFill>
            <a:srgbClr val="F6CDD3"/>
          </a:solidFill>
          <a:ln>
            <a:solidFill>
              <a:srgbClr val="F6CD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563" indent="-182563">
              <a:buFont typeface="+mj-lt"/>
              <a:buAutoNum type="arabicPeriod"/>
            </a:pPr>
            <a:r>
              <a:rPr lang="en-US" sz="1000" b="1">
                <a:solidFill>
                  <a:schemeClr val="tx1"/>
                </a:solidFill>
              </a:rPr>
              <a:t>Wealth:</a:t>
            </a:r>
            <a:r>
              <a:rPr lang="en-US" sz="1000">
                <a:solidFill>
                  <a:schemeClr val="tx1"/>
                </a:solidFill>
              </a:rPr>
              <a:t> </a:t>
            </a:r>
            <a:r>
              <a:rPr lang="en-US" sz="1000" i="1">
                <a:solidFill>
                  <a:schemeClr val="tx1"/>
                </a:solidFill>
              </a:rPr>
              <a:t>“Show my FD maturities in 2025”</a:t>
            </a:r>
            <a:endParaRPr lang="en-US" sz="1000">
              <a:solidFill>
                <a:schemeClr val="tx1"/>
              </a:solidFill>
            </a:endParaRPr>
          </a:p>
          <a:p>
            <a:pPr marL="180975" indent="-180975">
              <a:buFont typeface="+mj-lt"/>
              <a:buAutoNum type="arabicPeriod"/>
            </a:pPr>
            <a:r>
              <a:rPr lang="en-US" sz="1000" b="1">
                <a:solidFill>
                  <a:schemeClr val="tx1"/>
                </a:solidFill>
              </a:rPr>
              <a:t>Expenses:</a:t>
            </a:r>
            <a:r>
              <a:rPr lang="en-US" sz="1000">
                <a:solidFill>
                  <a:schemeClr val="tx1"/>
                </a:solidFill>
              </a:rPr>
              <a:t> </a:t>
            </a:r>
            <a:r>
              <a:rPr lang="en-US" sz="1000" i="1">
                <a:solidFill>
                  <a:schemeClr val="tx1"/>
                </a:solidFill>
              </a:rPr>
              <a:t>“Top 5 spends in Food last month”</a:t>
            </a:r>
            <a:endParaRPr lang="en-US" sz="1000">
              <a:solidFill>
                <a:schemeClr val="tx1"/>
              </a:solidFill>
            </a:endParaRPr>
          </a:p>
          <a:p>
            <a:pPr marL="180975" indent="-180975">
              <a:buFont typeface="+mj-lt"/>
              <a:buAutoNum type="arabicPeriod"/>
            </a:pPr>
            <a:r>
              <a:rPr lang="en-US" sz="1000" b="1">
                <a:solidFill>
                  <a:schemeClr val="tx1"/>
                </a:solidFill>
              </a:rPr>
              <a:t>Payments:</a:t>
            </a:r>
            <a:r>
              <a:rPr lang="en-US" sz="1000">
                <a:solidFill>
                  <a:schemeClr val="tx1"/>
                </a:solidFill>
              </a:rPr>
              <a:t> </a:t>
            </a:r>
            <a:r>
              <a:rPr lang="en-US" sz="1000" i="1">
                <a:solidFill>
                  <a:schemeClr val="tx1"/>
                </a:solidFill>
              </a:rPr>
              <a:t>“Pay my Tata Power bill ₹2,500”</a:t>
            </a:r>
            <a:endParaRPr lang="en-US" sz="1000">
              <a:solidFill>
                <a:schemeClr val="tx1"/>
              </a:solidFill>
            </a:endParaRPr>
          </a:p>
          <a:p>
            <a:pPr marL="180975" indent="-180975">
              <a:buFont typeface="+mj-lt"/>
              <a:buAutoNum type="arabicPeriod"/>
            </a:pPr>
            <a:r>
              <a:rPr lang="en-US" sz="1000" b="1">
                <a:solidFill>
                  <a:schemeClr val="tx1"/>
                </a:solidFill>
              </a:rPr>
              <a:t>Loans:</a:t>
            </a:r>
            <a:r>
              <a:rPr lang="en-US" sz="1000">
                <a:solidFill>
                  <a:schemeClr val="tx1"/>
                </a:solidFill>
              </a:rPr>
              <a:t> </a:t>
            </a:r>
            <a:r>
              <a:rPr lang="en-US" sz="1000" i="1">
                <a:solidFill>
                  <a:schemeClr val="tx1"/>
                </a:solidFill>
              </a:rPr>
              <a:t>“What’s my total EMI this quarter?”</a:t>
            </a:r>
            <a:endParaRPr lang="en-US" sz="1000">
              <a:solidFill>
                <a:schemeClr val="tx1"/>
              </a:solidFill>
            </a:endParaRPr>
          </a:p>
          <a:p>
            <a:pPr marL="180975" indent="-180975">
              <a:buFont typeface="+mj-lt"/>
              <a:buAutoNum type="arabicPeriod"/>
            </a:pPr>
            <a:r>
              <a:rPr lang="en-US" sz="1000" b="1">
                <a:solidFill>
                  <a:schemeClr val="tx1"/>
                </a:solidFill>
              </a:rPr>
              <a:t>Others:</a:t>
            </a:r>
            <a:r>
              <a:rPr lang="en-US" sz="1000">
                <a:solidFill>
                  <a:schemeClr val="tx1"/>
                </a:solidFill>
              </a:rPr>
              <a:t> </a:t>
            </a:r>
            <a:r>
              <a:rPr lang="en-US" sz="1000" i="1">
                <a:solidFill>
                  <a:schemeClr val="tx1"/>
                </a:solidFill>
              </a:rPr>
              <a:t>“Show all salary credits in 2024”</a:t>
            </a:r>
            <a:endParaRPr lang="en-US" sz="1000">
              <a:solidFill>
                <a:schemeClr val="tx1"/>
              </a:solidFill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BA6FDCD-E0C7-EDA9-ADB7-0376BF70B077}"/>
              </a:ext>
            </a:extLst>
          </p:cNvPr>
          <p:cNvCxnSpPr>
            <a:cxnSpLocks/>
          </p:cNvCxnSpPr>
          <p:nvPr/>
        </p:nvCxnSpPr>
        <p:spPr>
          <a:xfrm>
            <a:off x="170583" y="4565774"/>
            <a:ext cx="0" cy="1806215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9F9314EC-6A1A-1484-725C-1151A3AA57C8}"/>
              </a:ext>
            </a:extLst>
          </p:cNvPr>
          <p:cNvSpPr/>
          <p:nvPr/>
        </p:nvSpPr>
        <p:spPr>
          <a:xfrm>
            <a:off x="1916416" y="3681682"/>
            <a:ext cx="2016615" cy="394876"/>
          </a:xfrm>
          <a:prstGeom prst="rect">
            <a:avLst/>
          </a:prstGeom>
          <a:solidFill>
            <a:srgbClr val="F6CDD3"/>
          </a:solidFill>
          <a:ln>
            <a:solidFill>
              <a:srgbClr val="F6CD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en-US" sz="1000" b="1">
                <a:solidFill>
                  <a:schemeClr val="tx1"/>
                </a:solidFill>
              </a:rPr>
              <a:t>Personalized</a:t>
            </a:r>
            <a:r>
              <a:rPr lang="en-US" altLang="en-US" sz="1000" b="1">
                <a:solidFill>
                  <a:schemeClr val="tx1"/>
                </a:solidFill>
                <a:latin typeface="Arial" panose="020B0604020202020204" pitchFamily="34" charset="0"/>
              </a:rPr>
              <a:t> insights</a:t>
            </a:r>
          </a:p>
          <a:p>
            <a:r>
              <a:rPr lang="en-US" altLang="en-US" sz="1000">
                <a:solidFill>
                  <a:schemeClr val="tx1"/>
                </a:solidFill>
              </a:rPr>
              <a:t>Contextual to customer’s data</a:t>
            </a:r>
            <a:endParaRPr lang="en-IN" sz="1000">
              <a:solidFill>
                <a:schemeClr val="tx1"/>
              </a:solidFill>
            </a:endParaRP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ACCC47E1-A460-5EE3-0494-6F8BA6A24A69}"/>
              </a:ext>
            </a:extLst>
          </p:cNvPr>
          <p:cNvCxnSpPr>
            <a:cxnSpLocks/>
          </p:cNvCxnSpPr>
          <p:nvPr/>
        </p:nvCxnSpPr>
        <p:spPr>
          <a:xfrm>
            <a:off x="1916416" y="3681681"/>
            <a:ext cx="0" cy="66575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4C5ACC1-DFFB-D008-3BB7-C78602E33ED1}"/>
              </a:ext>
            </a:extLst>
          </p:cNvPr>
          <p:cNvSpPr/>
          <p:nvPr/>
        </p:nvSpPr>
        <p:spPr>
          <a:xfrm>
            <a:off x="2115513" y="4258895"/>
            <a:ext cx="2016614" cy="541279"/>
          </a:xfrm>
          <a:prstGeom prst="rect">
            <a:avLst/>
          </a:prstGeom>
          <a:solidFill>
            <a:srgbClr val="F6CDD3"/>
          </a:solidFill>
          <a:ln>
            <a:solidFill>
              <a:srgbClr val="F6CD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en-US" sz="1000" b="1">
                <a:solidFill>
                  <a:schemeClr val="tx1"/>
                </a:solidFill>
                <a:cs typeface="Arial" panose="020B0604020202020204" pitchFamily="34" charset="0"/>
              </a:rPr>
              <a:t>Features discovery</a:t>
            </a:r>
          </a:p>
          <a:p>
            <a:r>
              <a:rPr lang="en-US" sz="1000">
                <a:solidFill>
                  <a:schemeClr val="tx1"/>
                </a:solidFill>
              </a:rPr>
              <a:t>Recommends relevant app features beyond the query</a:t>
            </a:r>
            <a:endParaRPr lang="en-US" altLang="en-US" sz="1000" b="1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DB8B98FC-0388-DC40-38EB-5787B2DFE817}"/>
              </a:ext>
            </a:extLst>
          </p:cNvPr>
          <p:cNvCxnSpPr>
            <a:cxnSpLocks/>
          </p:cNvCxnSpPr>
          <p:nvPr/>
        </p:nvCxnSpPr>
        <p:spPr>
          <a:xfrm>
            <a:off x="2109178" y="4258895"/>
            <a:ext cx="0" cy="86623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955CDCA0-79F4-0FE8-F8E9-FFD36783ECE6}"/>
              </a:ext>
            </a:extLst>
          </p:cNvPr>
          <p:cNvSpPr/>
          <p:nvPr/>
        </p:nvSpPr>
        <p:spPr>
          <a:xfrm>
            <a:off x="2515900" y="5602030"/>
            <a:ext cx="1909365" cy="394876"/>
          </a:xfrm>
          <a:prstGeom prst="rect">
            <a:avLst/>
          </a:prstGeom>
          <a:solidFill>
            <a:srgbClr val="F6CDD3"/>
          </a:solidFill>
          <a:ln>
            <a:solidFill>
              <a:srgbClr val="F6CD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en-US" sz="1000" b="1">
                <a:solidFill>
                  <a:schemeClr val="tx1"/>
                </a:solidFill>
              </a:rPr>
              <a:t>Multilingual Support </a:t>
            </a:r>
            <a:endParaRPr lang="en-US" altLang="en-US" sz="1000" b="1">
              <a:solidFill>
                <a:schemeClr val="tx1"/>
              </a:solidFill>
              <a:latin typeface="Arial" panose="020B0604020202020204" pitchFamily="34" charset="0"/>
            </a:endParaRPr>
          </a:p>
          <a:p>
            <a:r>
              <a:rPr lang="en-US" altLang="en-US" sz="1000">
                <a:solidFill>
                  <a:schemeClr val="tx1"/>
                </a:solidFill>
              </a:rPr>
              <a:t>Supports 6 Regional Languages</a:t>
            </a:r>
            <a:endParaRPr lang="en-IN" sz="1000">
              <a:solidFill>
                <a:schemeClr val="tx1"/>
              </a:solidFill>
            </a:endParaRP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5B29FF8C-2A56-A89D-3010-18DDE3C0C677}"/>
              </a:ext>
            </a:extLst>
          </p:cNvPr>
          <p:cNvCxnSpPr>
            <a:cxnSpLocks/>
          </p:cNvCxnSpPr>
          <p:nvPr/>
        </p:nvCxnSpPr>
        <p:spPr>
          <a:xfrm>
            <a:off x="2515900" y="5602029"/>
            <a:ext cx="0" cy="66575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0" name="Rectangle 109">
            <a:extLst>
              <a:ext uri="{FF2B5EF4-FFF2-40B4-BE49-F238E27FC236}">
                <a16:creationId xmlns:a16="http://schemas.microsoft.com/office/drawing/2014/main" id="{02D87E3A-680D-BF5C-2C1F-DF8C6A14F4F3}"/>
              </a:ext>
            </a:extLst>
          </p:cNvPr>
          <p:cNvSpPr/>
          <p:nvPr/>
        </p:nvSpPr>
        <p:spPr>
          <a:xfrm>
            <a:off x="2301940" y="5003664"/>
            <a:ext cx="2016615" cy="394876"/>
          </a:xfrm>
          <a:prstGeom prst="rect">
            <a:avLst/>
          </a:prstGeom>
          <a:solidFill>
            <a:srgbClr val="F6CDD3"/>
          </a:solidFill>
          <a:ln>
            <a:solidFill>
              <a:srgbClr val="F6CD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sz="1000" b="1">
                <a:solidFill>
                  <a:schemeClr val="tx1"/>
                </a:solidFill>
              </a:rPr>
              <a:t>Conversational queries</a:t>
            </a:r>
          </a:p>
          <a:p>
            <a:r>
              <a:rPr lang="en-IN" sz="1000">
                <a:solidFill>
                  <a:schemeClr val="tx1"/>
                </a:solidFill>
              </a:rPr>
              <a:t>Natural language, intuitive input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CF05BC94-D492-D1FC-1CCF-FC8D70DDDD1E}"/>
              </a:ext>
            </a:extLst>
          </p:cNvPr>
          <p:cNvCxnSpPr>
            <a:cxnSpLocks/>
          </p:cNvCxnSpPr>
          <p:nvPr/>
        </p:nvCxnSpPr>
        <p:spPr>
          <a:xfrm>
            <a:off x="2301940" y="5003663"/>
            <a:ext cx="0" cy="66575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D4635707-C133-FD10-2DB0-917C9FDE0011}"/>
              </a:ext>
            </a:extLst>
          </p:cNvPr>
          <p:cNvSpPr txBox="1"/>
          <p:nvPr/>
        </p:nvSpPr>
        <p:spPr>
          <a:xfrm>
            <a:off x="128258" y="4542180"/>
            <a:ext cx="2674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b="1" i="1">
                <a:solidFill>
                  <a:srgbClr val="9D1E27"/>
                </a:solidFill>
              </a:rPr>
              <a:t>Query Examples</a:t>
            </a:r>
          </a:p>
        </p:txBody>
      </p:sp>
      <p:pic>
        <p:nvPicPr>
          <p:cNvPr id="117" name="Graphic 116" descr="Line arrow: Slight curve with solid fill">
            <a:extLst>
              <a:ext uri="{FF2B5EF4-FFF2-40B4-BE49-F238E27FC236}">
                <a16:creationId xmlns:a16="http://schemas.microsoft.com/office/drawing/2014/main" id="{9F377E41-0A1D-5885-95DF-812406280D4E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 rot="1378742" flipV="1">
            <a:off x="1689963" y="3095864"/>
            <a:ext cx="454529" cy="454529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C9095B85-723F-FD9D-FDA2-BD17589C44D3}"/>
              </a:ext>
            </a:extLst>
          </p:cNvPr>
          <p:cNvSpPr txBox="1"/>
          <p:nvPr/>
        </p:nvSpPr>
        <p:spPr>
          <a:xfrm>
            <a:off x="6657928" y="3024081"/>
            <a:ext cx="3100360" cy="829579"/>
          </a:xfrm>
          <a:prstGeom prst="roundRect">
            <a:avLst/>
          </a:prstGeom>
          <a:noFill/>
          <a:ln>
            <a:solidFill>
              <a:srgbClr val="9D1E27"/>
            </a:solidFill>
          </a:ln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>
              <a:defRPr sz="1200"/>
            </a:lvl1pPr>
          </a:lstStyle>
          <a:p>
            <a:r>
              <a:rPr lang="en-US"/>
              <a:t>Within </a:t>
            </a:r>
            <a:r>
              <a:rPr lang="en-US" b="1">
                <a:solidFill>
                  <a:srgbClr val="9D1E27"/>
                </a:solidFill>
              </a:rPr>
              <a:t>transactions</a:t>
            </a:r>
            <a:r>
              <a:rPr lang="en-US"/>
              <a:t>, </a:t>
            </a:r>
            <a:r>
              <a:rPr lang="en-US">
                <a:solidFill>
                  <a:srgbClr val="9D1E27"/>
                </a:solidFill>
              </a:rPr>
              <a:t>nudge</a:t>
            </a:r>
            <a:r>
              <a:rPr lang="en-US"/>
              <a:t> with a </a:t>
            </a:r>
            <a:r>
              <a:rPr lang="en-US" b="1">
                <a:solidFill>
                  <a:srgbClr val="9D1E27"/>
                </a:solidFill>
              </a:rPr>
              <a:t>matching voucher</a:t>
            </a:r>
            <a:r>
              <a:rPr lang="en-US"/>
              <a:t> of the same vendor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IN" sz="1000" i="1"/>
              <a:t>Increases engagement with the reward program and results in savings</a:t>
            </a:r>
          </a:p>
        </p:txBody>
      </p:sp>
      <p:pic>
        <p:nvPicPr>
          <p:cNvPr id="118" name="Graphic 117" descr="Line arrow: Slight curve with solid fill">
            <a:extLst>
              <a:ext uri="{FF2B5EF4-FFF2-40B4-BE49-F238E27FC236}">
                <a16:creationId xmlns:a16="http://schemas.microsoft.com/office/drawing/2014/main" id="{F7CF18A2-0970-2067-A7B6-C1C7A26784C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 rot="13310957" flipH="1" flipV="1">
            <a:off x="4040844" y="3510822"/>
            <a:ext cx="454529" cy="454529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8B78F1C4-D375-FBE9-F9DB-8D68F7F8541D}"/>
              </a:ext>
            </a:extLst>
          </p:cNvPr>
          <p:cNvSpPr txBox="1"/>
          <p:nvPr/>
        </p:nvSpPr>
        <p:spPr>
          <a:xfrm>
            <a:off x="7992557" y="3983305"/>
            <a:ext cx="2279021" cy="980209"/>
          </a:xfrm>
          <a:prstGeom prst="roundRect">
            <a:avLst/>
          </a:prstGeom>
          <a:noFill/>
          <a:ln>
            <a:solidFill>
              <a:srgbClr val="9D1E27"/>
            </a:solidFill>
          </a:ln>
        </p:spPr>
        <p:txBody>
          <a:bodyPr wrap="square" lIns="36000" tIns="36000" rIns="36000" bIns="36000" rtlCol="0" anchor="t">
            <a:spAutoFit/>
          </a:bodyPr>
          <a:lstStyle/>
          <a:p>
            <a:r>
              <a:rPr lang="en-US" sz="1200"/>
              <a:t>Launch a compact </a:t>
            </a:r>
            <a:r>
              <a:rPr lang="en-US" sz="1200" b="1">
                <a:solidFill>
                  <a:srgbClr val="9D1E27"/>
                </a:solidFill>
              </a:rPr>
              <a:t>Rewards </a:t>
            </a:r>
            <a:br>
              <a:rPr lang="en-US" sz="1200" b="1"/>
            </a:br>
            <a:r>
              <a:rPr lang="en-US" sz="1200" b="1">
                <a:solidFill>
                  <a:srgbClr val="9D1E27"/>
                </a:solidFill>
              </a:rPr>
              <a:t>Insight Hub, </a:t>
            </a:r>
            <a:r>
              <a:rPr lang="en-US" sz="1200"/>
              <a:t>with personalized </a:t>
            </a:r>
            <a:r>
              <a:rPr lang="en-US" sz="1200" b="1">
                <a:solidFill>
                  <a:srgbClr val="9D1E27"/>
                </a:solidFill>
              </a:rPr>
              <a:t>recommendations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000" i="1"/>
              <a:t>Track user spends on top vendors and nudge to buy voucher</a:t>
            </a:r>
            <a:r>
              <a:rPr lang="en-US" sz="1100" i="1"/>
              <a:t>s</a:t>
            </a:r>
          </a:p>
        </p:txBody>
      </p:sp>
      <p:pic>
        <p:nvPicPr>
          <p:cNvPr id="85" name="Graphic 84" descr="Line arrow: Clockwise curve with solid fill">
            <a:extLst>
              <a:ext uri="{FF2B5EF4-FFF2-40B4-BE49-F238E27FC236}">
                <a16:creationId xmlns:a16="http://schemas.microsoft.com/office/drawing/2014/main" id="{F1DAE011-9233-1E24-BB37-375E95A576A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 rot="16200000">
            <a:off x="9853310" y="3008654"/>
            <a:ext cx="351765" cy="351765"/>
          </a:xfrm>
          <a:prstGeom prst="rect">
            <a:avLst/>
          </a:prstGeom>
        </p:spPr>
      </p:pic>
      <p:pic>
        <p:nvPicPr>
          <p:cNvPr id="102" name="Graphic 101" descr="Badge 3 with solid fill">
            <a:extLst>
              <a:ext uri="{FF2B5EF4-FFF2-40B4-BE49-F238E27FC236}">
                <a16:creationId xmlns:a16="http://schemas.microsoft.com/office/drawing/2014/main" id="{559204F3-75E8-2137-3046-113208D02C44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045254" y="3742534"/>
            <a:ext cx="360000" cy="360000"/>
          </a:xfrm>
          <a:prstGeom prst="rect">
            <a:avLst/>
          </a:prstGeom>
        </p:spPr>
      </p:pic>
      <p:pic>
        <p:nvPicPr>
          <p:cNvPr id="106" name="Graphic 105" descr="Badge 1 with solid fill">
            <a:extLst>
              <a:ext uri="{FF2B5EF4-FFF2-40B4-BE49-F238E27FC236}">
                <a16:creationId xmlns:a16="http://schemas.microsoft.com/office/drawing/2014/main" id="{CB54CCE9-3488-2867-6266-B89609C10A3F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9629821" y="2080591"/>
            <a:ext cx="360000" cy="360000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8A90F77E-0D77-7FE4-DEA6-7D454DA37722}"/>
              </a:ext>
            </a:extLst>
          </p:cNvPr>
          <p:cNvSpPr txBox="1"/>
          <p:nvPr/>
        </p:nvSpPr>
        <p:spPr>
          <a:xfrm>
            <a:off x="2459964" y="3278091"/>
            <a:ext cx="1466149" cy="2736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US" sz="1300" i="1">
                <a:solidFill>
                  <a:srgbClr val="9D1E27"/>
                </a:solidFill>
                <a:cs typeface="Calibri" panose="020F0502020204030204" pitchFamily="34" charset="0"/>
              </a:rPr>
              <a:t>clicks reduced to </a:t>
            </a:r>
            <a:endParaRPr lang="en-IN" sz="1300" i="1">
              <a:solidFill>
                <a:srgbClr val="9D1E27"/>
              </a:solidFill>
              <a:cs typeface="Calibri" panose="020F0502020204030204" pitchFamily="34" charset="0"/>
            </a:endParaRPr>
          </a:p>
        </p:txBody>
      </p:sp>
      <p:sp>
        <p:nvSpPr>
          <p:cNvPr id="43" name="Arrow: Chevron 10">
            <a:extLst>
              <a:ext uri="{FF2B5EF4-FFF2-40B4-BE49-F238E27FC236}">
                <a16:creationId xmlns:a16="http://schemas.microsoft.com/office/drawing/2014/main" id="{0FF676A7-9F68-944E-5ED7-E4542874D95E}"/>
              </a:ext>
            </a:extLst>
          </p:cNvPr>
          <p:cNvSpPr/>
          <p:nvPr/>
        </p:nvSpPr>
        <p:spPr>
          <a:xfrm>
            <a:off x="1695778" y="2894236"/>
            <a:ext cx="4386860" cy="261878"/>
          </a:xfrm>
          <a:prstGeom prst="chevron">
            <a:avLst>
              <a:gd name="adj" fmla="val 34868"/>
            </a:avLst>
          </a:prstGeom>
          <a:solidFill>
            <a:srgbClr val="9D1E27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>
              <a:lnSpc>
                <a:spcPct val="90000"/>
              </a:lnSpc>
              <a:spcBef>
                <a:spcPct val="0"/>
              </a:spcBef>
            </a:pPr>
            <a:r>
              <a:rPr lang="en-US" sz="1400" b="1" i="1"/>
              <a:t>Search 2.0 – Query Based, Execution Oriented </a:t>
            </a:r>
            <a:endParaRPr lang="en-IN" sz="1400" b="1" i="1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pic>
        <p:nvPicPr>
          <p:cNvPr id="116" name="Graphic 115" descr="Badge with solid fill">
            <a:extLst>
              <a:ext uri="{FF2B5EF4-FFF2-40B4-BE49-F238E27FC236}">
                <a16:creationId xmlns:a16="http://schemas.microsoft.com/office/drawing/2014/main" id="{6706070A-7BB0-A6C7-19AE-6171F2496AD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631850" y="2908074"/>
            <a:ext cx="360000" cy="360000"/>
          </a:xfrm>
          <a:prstGeom prst="rect">
            <a:avLst/>
          </a:prstGeom>
        </p:spPr>
      </p:pic>
      <p:sp>
        <p:nvSpPr>
          <p:cNvPr id="4" name="Arrow: Chevron 10">
            <a:extLst>
              <a:ext uri="{FF2B5EF4-FFF2-40B4-BE49-F238E27FC236}">
                <a16:creationId xmlns:a16="http://schemas.microsoft.com/office/drawing/2014/main" id="{D21B59A8-AA77-61D7-9BA8-6A88C0A93C88}"/>
              </a:ext>
            </a:extLst>
          </p:cNvPr>
          <p:cNvSpPr/>
          <p:nvPr/>
        </p:nvSpPr>
        <p:spPr>
          <a:xfrm>
            <a:off x="2457845" y="0"/>
            <a:ext cx="2530236" cy="324000"/>
          </a:xfrm>
          <a:prstGeom prst="chevron">
            <a:avLst>
              <a:gd name="adj" fmla="val 34868"/>
            </a:avLst>
          </a:prstGeom>
          <a:solidFill>
            <a:srgbClr val="9D1E27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IN" sz="1200" b="1">
                <a:solidFill>
                  <a:schemeClr val="bg1"/>
                </a:solidFill>
                <a:cs typeface="Calibri" panose="020F0502020204030204" pitchFamily="34" charset="0"/>
              </a:rPr>
              <a:t>Slide 2: Gaps &amp; Solution </a:t>
            </a: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7F0A1AC6-1F1F-2BC4-17A1-F63353E8B204}"/>
              </a:ext>
            </a:extLst>
          </p:cNvPr>
          <p:cNvSpPr/>
          <p:nvPr/>
        </p:nvSpPr>
        <p:spPr>
          <a:xfrm>
            <a:off x="0" y="3275"/>
            <a:ext cx="2504279" cy="315083"/>
          </a:xfrm>
          <a:prstGeom prst="homePlate">
            <a:avLst>
              <a:gd name="adj" fmla="val 34211"/>
            </a:avLst>
          </a:prstGeom>
          <a:solidFill>
            <a:srgbClr val="9D1E27">
              <a:alpha val="50196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IN" sz="1200" b="1">
                <a:solidFill>
                  <a:schemeClr val="accent2">
                    <a:lumMod val="50000"/>
                  </a:schemeClr>
                </a:solidFill>
                <a:cs typeface="Calibri" panose="020F0502020204030204" pitchFamily="34" charset="0"/>
              </a:rPr>
              <a:t>Slide 1: Research &amp; Positioning</a:t>
            </a:r>
          </a:p>
        </p:txBody>
      </p:sp>
      <p:sp>
        <p:nvSpPr>
          <p:cNvPr id="12" name="Arrow: Chevron 10">
            <a:extLst>
              <a:ext uri="{FF2B5EF4-FFF2-40B4-BE49-F238E27FC236}">
                <a16:creationId xmlns:a16="http://schemas.microsoft.com/office/drawing/2014/main" id="{1507033D-4BF8-6280-C730-27F0CD10E9C7}"/>
              </a:ext>
            </a:extLst>
          </p:cNvPr>
          <p:cNvSpPr/>
          <p:nvPr/>
        </p:nvSpPr>
        <p:spPr>
          <a:xfrm>
            <a:off x="4941388" y="0"/>
            <a:ext cx="2483543" cy="324000"/>
          </a:xfrm>
          <a:prstGeom prst="chevron">
            <a:avLst>
              <a:gd name="adj" fmla="val 34868"/>
            </a:avLst>
          </a:prstGeom>
          <a:solidFill>
            <a:srgbClr val="9D1E27">
              <a:alpha val="50196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US" sz="1200" b="1">
                <a:solidFill>
                  <a:schemeClr val="accent2">
                    <a:lumMod val="50000"/>
                  </a:schemeClr>
                </a:solidFill>
                <a:cs typeface="Calibri" panose="020F0502020204030204" pitchFamily="34" charset="0"/>
              </a:rPr>
              <a:t>E</a:t>
            </a:r>
            <a:r>
              <a:rPr lang="en-IN" sz="1200" b="1">
                <a:solidFill>
                  <a:schemeClr val="accent2">
                    <a:lumMod val="50000"/>
                  </a:schemeClr>
                </a:solidFill>
                <a:cs typeface="Calibri" panose="020F0502020204030204" pitchFamily="34" charset="0"/>
              </a:rPr>
              <a:t>xhibit 1: Search 2.0 </a:t>
            </a:r>
          </a:p>
        </p:txBody>
      </p:sp>
      <p:sp>
        <p:nvSpPr>
          <p:cNvPr id="13" name="Arrow: Chevron 10">
            <a:extLst>
              <a:ext uri="{FF2B5EF4-FFF2-40B4-BE49-F238E27FC236}">
                <a16:creationId xmlns:a16="http://schemas.microsoft.com/office/drawing/2014/main" id="{70A6B0DB-095A-3725-7417-4B5209FDF5F8}"/>
              </a:ext>
            </a:extLst>
          </p:cNvPr>
          <p:cNvSpPr/>
          <p:nvPr/>
        </p:nvSpPr>
        <p:spPr>
          <a:xfrm>
            <a:off x="7383998" y="0"/>
            <a:ext cx="2309224" cy="324000"/>
          </a:xfrm>
          <a:prstGeom prst="chevron">
            <a:avLst>
              <a:gd name="adj" fmla="val 34868"/>
            </a:avLst>
          </a:prstGeom>
          <a:solidFill>
            <a:srgbClr val="9D1E27">
              <a:alpha val="50196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IN" sz="1200" b="1">
                <a:solidFill>
                  <a:srgbClr val="9D1E27"/>
                </a:solidFill>
                <a:cs typeface="Calibri" panose="020F0502020204030204" pitchFamily="34" charset="0"/>
              </a:rPr>
              <a:t>Exhibit 2 : Recommended Rewards </a:t>
            </a:r>
            <a:endParaRPr lang="en-IN" sz="1050">
              <a:solidFill>
                <a:srgbClr val="9D1E27"/>
              </a:solidFill>
              <a:cs typeface="Calibri" panose="020F0502020204030204" pitchFamily="34" charset="0"/>
            </a:endParaRPr>
          </a:p>
        </p:txBody>
      </p:sp>
      <p:sp>
        <p:nvSpPr>
          <p:cNvPr id="14" name="Arrow: Chevron 10">
            <a:extLst>
              <a:ext uri="{FF2B5EF4-FFF2-40B4-BE49-F238E27FC236}">
                <a16:creationId xmlns:a16="http://schemas.microsoft.com/office/drawing/2014/main" id="{58DB9D27-9CC8-FB26-98CF-7942E35A16D3}"/>
              </a:ext>
            </a:extLst>
          </p:cNvPr>
          <p:cNvSpPr/>
          <p:nvPr/>
        </p:nvSpPr>
        <p:spPr>
          <a:xfrm>
            <a:off x="9693222" y="0"/>
            <a:ext cx="2483543" cy="324000"/>
          </a:xfrm>
          <a:prstGeom prst="chevron">
            <a:avLst>
              <a:gd name="adj" fmla="val 34868"/>
            </a:avLst>
          </a:prstGeom>
          <a:solidFill>
            <a:srgbClr val="9D1E27">
              <a:alpha val="50196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US" sz="1200" b="1">
                <a:solidFill>
                  <a:srgbClr val="9D1E27"/>
                </a:solidFill>
                <a:cs typeface="Calibri" panose="020F0502020204030204" pitchFamily="34" charset="0"/>
              </a:rPr>
              <a:t>E</a:t>
            </a:r>
            <a:r>
              <a:rPr lang="en-IN" sz="1200" b="1">
                <a:solidFill>
                  <a:srgbClr val="9D1E27"/>
                </a:solidFill>
                <a:cs typeface="Calibri" panose="020F0502020204030204" pitchFamily="34" charset="0"/>
              </a:rPr>
              <a:t>xhibit 3 : RAG/Costing/Feasibility </a:t>
            </a:r>
            <a:endParaRPr lang="en-IN" sz="1050">
              <a:solidFill>
                <a:srgbClr val="9D1E27"/>
              </a:solidFill>
              <a:cs typeface="Calibri" panose="020F0502020204030204" pitchFamily="34" charset="0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E88748FF-97DC-3A69-49D6-2237991D091E}"/>
              </a:ext>
            </a:extLst>
          </p:cNvPr>
          <p:cNvSpPr txBox="1"/>
          <p:nvPr/>
        </p:nvSpPr>
        <p:spPr>
          <a:xfrm>
            <a:off x="6222049" y="971841"/>
            <a:ext cx="5699286" cy="276999"/>
          </a:xfrm>
          <a:prstGeom prst="rect">
            <a:avLst/>
          </a:prstGeom>
          <a:noFill/>
          <a:ln>
            <a:solidFill>
              <a:srgbClr val="9D1E27"/>
            </a:solidFill>
          </a:ln>
        </p:spPr>
        <p:txBody>
          <a:bodyPr wrap="square" rtlCol="0">
            <a:spAutoFit/>
          </a:bodyPr>
          <a:lstStyle/>
          <a:p>
            <a:r>
              <a:rPr lang="en-IN" sz="1200" b="1" i="1">
                <a:solidFill>
                  <a:srgbClr val="9D1E27"/>
                </a:solidFill>
              </a:rPr>
              <a:t>Problems in the current  spending analysis and rewards program experience</a:t>
            </a: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BEF6FF7A-5BF4-FF81-BD50-F324A7A7BB85}"/>
              </a:ext>
            </a:extLst>
          </p:cNvPr>
          <p:cNvGrpSpPr/>
          <p:nvPr/>
        </p:nvGrpSpPr>
        <p:grpSpPr>
          <a:xfrm>
            <a:off x="7624602" y="1289328"/>
            <a:ext cx="1407007" cy="640262"/>
            <a:chOff x="7472515" y="1289328"/>
            <a:chExt cx="1407007" cy="640262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31B2545-37C2-76BD-DACE-EB435678E48C}"/>
                </a:ext>
              </a:extLst>
            </p:cNvPr>
            <p:cNvSpPr/>
            <p:nvPr/>
          </p:nvSpPr>
          <p:spPr>
            <a:xfrm>
              <a:off x="7472515" y="1289328"/>
              <a:ext cx="1407007" cy="281642"/>
            </a:xfrm>
            <a:custGeom>
              <a:avLst/>
              <a:gdLst>
                <a:gd name="connsiteX0" fmla="*/ 0 w 1086280"/>
                <a:gd name="connsiteY0" fmla="*/ 0 h 389478"/>
                <a:gd name="connsiteX1" fmla="*/ 1086280 w 1086280"/>
                <a:gd name="connsiteY1" fmla="*/ 0 h 389478"/>
                <a:gd name="connsiteX2" fmla="*/ 1086280 w 1086280"/>
                <a:gd name="connsiteY2" fmla="*/ 389478 h 389478"/>
                <a:gd name="connsiteX3" fmla="*/ 0 w 1086280"/>
                <a:gd name="connsiteY3" fmla="*/ 389478 h 389478"/>
                <a:gd name="connsiteX4" fmla="*/ 0 w 1086280"/>
                <a:gd name="connsiteY4" fmla="*/ 0 h 389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6280" h="389478">
                  <a:moveTo>
                    <a:pt x="0" y="0"/>
                  </a:moveTo>
                  <a:lnTo>
                    <a:pt x="1086280" y="0"/>
                  </a:lnTo>
                  <a:lnTo>
                    <a:pt x="1086280" y="389478"/>
                  </a:lnTo>
                  <a:lnTo>
                    <a:pt x="0" y="3894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D1E27"/>
            </a:solidFill>
            <a:ln>
              <a:solidFill>
                <a:srgbClr val="9D1E27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6000" tIns="36000" rIns="36000" bIns="36000" numCol="1" spcCol="1270" anchor="ctr" anchorCtr="1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000" b="1"/>
                <a:t>Un-Intuitive  Spends Overview</a:t>
              </a:r>
              <a:endParaRPr lang="en-IN" sz="1000" b="1" kern="12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8396DE2-E6DB-9D56-2A3A-FEA5C560577C}"/>
                </a:ext>
              </a:extLst>
            </p:cNvPr>
            <p:cNvSpPr/>
            <p:nvPr/>
          </p:nvSpPr>
          <p:spPr>
            <a:xfrm>
              <a:off x="7472515" y="1599860"/>
              <a:ext cx="1407007" cy="329730"/>
            </a:xfrm>
            <a:custGeom>
              <a:avLst/>
              <a:gdLst>
                <a:gd name="connsiteX0" fmla="*/ 0 w 1086280"/>
                <a:gd name="connsiteY0" fmla="*/ 0 h 455978"/>
                <a:gd name="connsiteX1" fmla="*/ 1086280 w 1086280"/>
                <a:gd name="connsiteY1" fmla="*/ 0 h 455978"/>
                <a:gd name="connsiteX2" fmla="*/ 1086280 w 1086280"/>
                <a:gd name="connsiteY2" fmla="*/ 455978 h 455978"/>
                <a:gd name="connsiteX3" fmla="*/ 0 w 1086280"/>
                <a:gd name="connsiteY3" fmla="*/ 455978 h 455978"/>
                <a:gd name="connsiteX4" fmla="*/ 0 w 1086280"/>
                <a:gd name="connsiteY4" fmla="*/ 0 h 455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6280" h="455978">
                  <a:moveTo>
                    <a:pt x="0" y="0"/>
                  </a:moveTo>
                  <a:lnTo>
                    <a:pt x="1086280" y="0"/>
                  </a:lnTo>
                  <a:lnTo>
                    <a:pt x="1086280" y="455978"/>
                  </a:lnTo>
                  <a:lnTo>
                    <a:pt x="0" y="45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CDD3">
                <a:alpha val="90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000" tIns="36000" rIns="36000" bIns="36000" numCol="1" spcCol="1270" anchor="ctr" anchorCtr="1">
              <a:noAutofit/>
            </a:bodyPr>
            <a:lstStyle/>
            <a:p>
              <a:pPr marL="57150" lvl="1" indent="-5715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000" kern="1200"/>
                <a:t>No Calendar view to give a birds-eye view</a:t>
              </a:r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58CF3E34-D320-A44D-6DA1-6101C117EEFE}"/>
              </a:ext>
            </a:extLst>
          </p:cNvPr>
          <p:cNvGrpSpPr/>
          <p:nvPr/>
        </p:nvGrpSpPr>
        <p:grpSpPr>
          <a:xfrm>
            <a:off x="6140450" y="1289328"/>
            <a:ext cx="1407007" cy="640262"/>
            <a:chOff x="6096000" y="1289328"/>
            <a:chExt cx="1407007" cy="640262"/>
          </a:xfrm>
        </p:grpSpPr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C76106F8-B393-39E5-D83C-27BE3CC0C80E}"/>
                </a:ext>
              </a:extLst>
            </p:cNvPr>
            <p:cNvSpPr/>
            <p:nvPr/>
          </p:nvSpPr>
          <p:spPr>
            <a:xfrm>
              <a:off x="6096000" y="1289328"/>
              <a:ext cx="1407007" cy="281642"/>
            </a:xfrm>
            <a:custGeom>
              <a:avLst/>
              <a:gdLst>
                <a:gd name="connsiteX0" fmla="*/ 0 w 1086280"/>
                <a:gd name="connsiteY0" fmla="*/ 0 h 389478"/>
                <a:gd name="connsiteX1" fmla="*/ 1086280 w 1086280"/>
                <a:gd name="connsiteY1" fmla="*/ 0 h 389478"/>
                <a:gd name="connsiteX2" fmla="*/ 1086280 w 1086280"/>
                <a:gd name="connsiteY2" fmla="*/ 389478 h 389478"/>
                <a:gd name="connsiteX3" fmla="*/ 0 w 1086280"/>
                <a:gd name="connsiteY3" fmla="*/ 389478 h 389478"/>
                <a:gd name="connsiteX4" fmla="*/ 0 w 1086280"/>
                <a:gd name="connsiteY4" fmla="*/ 0 h 389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6280" h="389478">
                  <a:moveTo>
                    <a:pt x="0" y="0"/>
                  </a:moveTo>
                  <a:lnTo>
                    <a:pt x="1086280" y="0"/>
                  </a:lnTo>
                  <a:lnTo>
                    <a:pt x="1086280" y="389478"/>
                  </a:lnTo>
                  <a:lnTo>
                    <a:pt x="0" y="3894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D1E27"/>
            </a:solidFill>
            <a:ln>
              <a:solidFill>
                <a:srgbClr val="9D1E27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6000" tIns="36000" rIns="36000" bIns="36000" numCol="1" spcCol="1270" anchor="ctr" anchorCtr="1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000" b="1" kern="1200"/>
                <a:t>Hard to find rewards</a:t>
              </a:r>
              <a:endParaRPr lang="en-IN" sz="1000" b="1" kern="1200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4A79884D-D9F2-3D6B-A988-DBB1529B8041}"/>
                </a:ext>
              </a:extLst>
            </p:cNvPr>
            <p:cNvSpPr/>
            <p:nvPr/>
          </p:nvSpPr>
          <p:spPr>
            <a:xfrm>
              <a:off x="6096000" y="1599860"/>
              <a:ext cx="1407007" cy="329730"/>
            </a:xfrm>
            <a:custGeom>
              <a:avLst/>
              <a:gdLst>
                <a:gd name="connsiteX0" fmla="*/ 0 w 1086280"/>
                <a:gd name="connsiteY0" fmla="*/ 0 h 455978"/>
                <a:gd name="connsiteX1" fmla="*/ 1086280 w 1086280"/>
                <a:gd name="connsiteY1" fmla="*/ 0 h 455978"/>
                <a:gd name="connsiteX2" fmla="*/ 1086280 w 1086280"/>
                <a:gd name="connsiteY2" fmla="*/ 455978 h 455978"/>
                <a:gd name="connsiteX3" fmla="*/ 0 w 1086280"/>
                <a:gd name="connsiteY3" fmla="*/ 455978 h 455978"/>
                <a:gd name="connsiteX4" fmla="*/ 0 w 1086280"/>
                <a:gd name="connsiteY4" fmla="*/ 0 h 455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6280" h="455978">
                  <a:moveTo>
                    <a:pt x="0" y="0"/>
                  </a:moveTo>
                  <a:lnTo>
                    <a:pt x="1086280" y="0"/>
                  </a:lnTo>
                  <a:lnTo>
                    <a:pt x="1086280" y="455978"/>
                  </a:lnTo>
                  <a:lnTo>
                    <a:pt x="0" y="45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CDD3">
                <a:alpha val="90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000" tIns="36000" rIns="36000" bIns="36000" numCol="1" spcCol="1270" anchor="ctr" anchorCtr="1">
              <a:noAutofit/>
            </a:bodyPr>
            <a:lstStyle/>
            <a:p>
              <a:pPr marL="57150" lvl="1" indent="-5715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1000" kern="1200"/>
                <a:t>Value buried across tabs/portals</a:t>
              </a:r>
              <a:endParaRPr lang="en-IN" sz="1000" kern="1200"/>
            </a:p>
          </p:txBody>
        </p:sp>
      </p:grpSp>
      <p:pic>
        <p:nvPicPr>
          <p:cNvPr id="15" name="Graphic 14" descr="Line arrow: Clockwise curve with solid fill">
            <a:extLst>
              <a:ext uri="{FF2B5EF4-FFF2-40B4-BE49-F238E27FC236}">
                <a16:creationId xmlns:a16="http://schemas.microsoft.com/office/drawing/2014/main" id="{991C5A4B-4363-3521-639E-DAC86C437619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 rot="5400000">
            <a:off x="7781350" y="5246165"/>
            <a:ext cx="321361" cy="25509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367C236-5E00-2727-BC69-724115B1A962}"/>
              </a:ext>
            </a:extLst>
          </p:cNvPr>
          <p:cNvSpPr txBox="1"/>
          <p:nvPr/>
        </p:nvSpPr>
        <p:spPr>
          <a:xfrm>
            <a:off x="8185410" y="5385586"/>
            <a:ext cx="2198110" cy="945327"/>
          </a:xfrm>
          <a:prstGeom prst="roundRect">
            <a:avLst/>
          </a:prstGeom>
          <a:noFill/>
          <a:ln>
            <a:solidFill>
              <a:srgbClr val="9D1E27"/>
            </a:solidFill>
          </a:ln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/>
              <a:t>Add a </a:t>
            </a:r>
            <a:r>
              <a:rPr lang="en-US" sz="1200" b="1">
                <a:solidFill>
                  <a:srgbClr val="9D1E27"/>
                </a:solidFill>
              </a:rPr>
              <a:t>cashflow calendar</a:t>
            </a:r>
            <a:r>
              <a:rPr lang="en-US" sz="1200"/>
              <a:t> highlighting major spend and upcoming bills/ CC payments</a:t>
            </a:r>
          </a:p>
          <a:p>
            <a:pPr marL="90488" indent="-90488">
              <a:buFont typeface="Arial" panose="020B0604020202020204" pitchFamily="34" charset="0"/>
              <a:buChar char="•"/>
            </a:pPr>
            <a:r>
              <a:rPr lang="en-US" sz="1000" i="1"/>
              <a:t>Enables a better tracking mechanism</a:t>
            </a:r>
          </a:p>
        </p:txBody>
      </p:sp>
      <p:pic>
        <p:nvPicPr>
          <p:cNvPr id="17" name="Graphic 16" descr="Badge 4 with solid fill">
            <a:extLst>
              <a:ext uri="{FF2B5EF4-FFF2-40B4-BE49-F238E27FC236}">
                <a16:creationId xmlns:a16="http://schemas.microsoft.com/office/drawing/2014/main" id="{703325D2-795A-147C-B41A-0341F443960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8035436" y="5179135"/>
            <a:ext cx="360000" cy="360000"/>
          </a:xfrm>
          <a:prstGeom prst="rect">
            <a:avLst/>
          </a:prstGeom>
        </p:spPr>
      </p:pic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2A214441-D574-CB8F-2C4C-E88F82960F4A}"/>
              </a:ext>
            </a:extLst>
          </p:cNvPr>
          <p:cNvSpPr/>
          <p:nvPr/>
        </p:nvSpPr>
        <p:spPr>
          <a:xfrm rot="10800000">
            <a:off x="6153150" y="1976392"/>
            <a:ext cx="5727700" cy="139792"/>
          </a:xfrm>
          <a:prstGeom prst="triangle">
            <a:avLst/>
          </a:prstGeom>
          <a:solidFill>
            <a:srgbClr val="9D1E27"/>
          </a:solidFill>
          <a:ln>
            <a:solidFill>
              <a:srgbClr val="9D1E2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0" name="Graphic 19" descr="Video camera with solid fill">
            <a:extLst>
              <a:ext uri="{FF2B5EF4-FFF2-40B4-BE49-F238E27FC236}">
                <a16:creationId xmlns:a16="http://schemas.microsoft.com/office/drawing/2014/main" id="{E7971313-38BE-CA94-C288-282566B6C283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546613" y="6022301"/>
            <a:ext cx="408904" cy="408904"/>
          </a:xfrm>
          <a:prstGeom prst="rect">
            <a:avLst/>
          </a:prstGeom>
        </p:spPr>
      </p:pic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894C80F1-1703-E4CE-A97E-5572E3842B0E}"/>
              </a:ext>
            </a:extLst>
          </p:cNvPr>
          <p:cNvSpPr/>
          <p:nvPr/>
        </p:nvSpPr>
        <p:spPr>
          <a:xfrm>
            <a:off x="3982290" y="6091136"/>
            <a:ext cx="908694" cy="281642"/>
          </a:xfrm>
          <a:custGeom>
            <a:avLst/>
            <a:gdLst>
              <a:gd name="connsiteX0" fmla="*/ 0 w 1086280"/>
              <a:gd name="connsiteY0" fmla="*/ 0 h 389478"/>
              <a:gd name="connsiteX1" fmla="*/ 1086280 w 1086280"/>
              <a:gd name="connsiteY1" fmla="*/ 0 h 389478"/>
              <a:gd name="connsiteX2" fmla="*/ 1086280 w 1086280"/>
              <a:gd name="connsiteY2" fmla="*/ 389478 h 389478"/>
              <a:gd name="connsiteX3" fmla="*/ 0 w 1086280"/>
              <a:gd name="connsiteY3" fmla="*/ 389478 h 389478"/>
              <a:gd name="connsiteX4" fmla="*/ 0 w 1086280"/>
              <a:gd name="connsiteY4" fmla="*/ 0 h 389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280" h="389478">
                <a:moveTo>
                  <a:pt x="0" y="0"/>
                </a:moveTo>
                <a:lnTo>
                  <a:pt x="1086280" y="0"/>
                </a:lnTo>
                <a:lnTo>
                  <a:pt x="1086280" y="389478"/>
                </a:lnTo>
                <a:lnTo>
                  <a:pt x="0" y="389478"/>
                </a:lnTo>
                <a:lnTo>
                  <a:pt x="0" y="0"/>
                </a:lnTo>
                <a:close/>
              </a:path>
            </a:pathLst>
          </a:custGeom>
          <a:solidFill>
            <a:srgbClr val="9D1E27"/>
          </a:solidFill>
          <a:ln>
            <a:solidFill>
              <a:srgbClr val="9D1E27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1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000" b="1" kern="1200"/>
              <a:t>Click to Play</a:t>
            </a:r>
          </a:p>
        </p:txBody>
      </p:sp>
      <p:pic>
        <p:nvPicPr>
          <p:cNvPr id="51" name="Graphic 50" descr="Video camera with solid fill">
            <a:extLst>
              <a:ext uri="{FF2B5EF4-FFF2-40B4-BE49-F238E27FC236}">
                <a16:creationId xmlns:a16="http://schemas.microsoft.com/office/drawing/2014/main" id="{9E2CA809-1A1D-C3B8-8F36-5AF23C44D2A2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91762" y="1206080"/>
            <a:ext cx="396878" cy="396878"/>
          </a:xfrm>
          <a:prstGeom prst="rect">
            <a:avLst/>
          </a:prstGeom>
        </p:spPr>
      </p:pic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D511D58-9428-22DE-216D-AD5FAF4FFF54}"/>
              </a:ext>
            </a:extLst>
          </p:cNvPr>
          <p:cNvSpPr/>
          <p:nvPr/>
        </p:nvSpPr>
        <p:spPr>
          <a:xfrm>
            <a:off x="522443" y="1329639"/>
            <a:ext cx="908694" cy="281642"/>
          </a:xfrm>
          <a:custGeom>
            <a:avLst/>
            <a:gdLst>
              <a:gd name="connsiteX0" fmla="*/ 0 w 1086280"/>
              <a:gd name="connsiteY0" fmla="*/ 0 h 389478"/>
              <a:gd name="connsiteX1" fmla="*/ 1086280 w 1086280"/>
              <a:gd name="connsiteY1" fmla="*/ 0 h 389478"/>
              <a:gd name="connsiteX2" fmla="*/ 1086280 w 1086280"/>
              <a:gd name="connsiteY2" fmla="*/ 389478 h 389478"/>
              <a:gd name="connsiteX3" fmla="*/ 0 w 1086280"/>
              <a:gd name="connsiteY3" fmla="*/ 389478 h 389478"/>
              <a:gd name="connsiteX4" fmla="*/ 0 w 1086280"/>
              <a:gd name="connsiteY4" fmla="*/ 0 h 389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280" h="389478">
                <a:moveTo>
                  <a:pt x="0" y="0"/>
                </a:moveTo>
                <a:lnTo>
                  <a:pt x="1086280" y="0"/>
                </a:lnTo>
                <a:lnTo>
                  <a:pt x="1086280" y="389478"/>
                </a:lnTo>
                <a:lnTo>
                  <a:pt x="0" y="389478"/>
                </a:lnTo>
                <a:lnTo>
                  <a:pt x="0" y="0"/>
                </a:lnTo>
                <a:close/>
              </a:path>
            </a:pathLst>
          </a:custGeom>
          <a:solidFill>
            <a:srgbClr val="9D1E27"/>
          </a:solidFill>
          <a:ln>
            <a:solidFill>
              <a:srgbClr val="9D1E27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1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000" b="1"/>
              <a:t>Click to Play</a:t>
            </a:r>
            <a:endParaRPr lang="en-IN" sz="1000" b="1" kern="1200"/>
          </a:p>
        </p:txBody>
      </p:sp>
      <p:cxnSp>
        <p:nvCxnSpPr>
          <p:cNvPr id="53" name="Connector: Curved 52">
            <a:extLst>
              <a:ext uri="{FF2B5EF4-FFF2-40B4-BE49-F238E27FC236}">
                <a16:creationId xmlns:a16="http://schemas.microsoft.com/office/drawing/2014/main" id="{669E18C9-C4A1-84B4-033E-FE92B13F5FC1}"/>
              </a:ext>
            </a:extLst>
          </p:cNvPr>
          <p:cNvCxnSpPr>
            <a:cxnSpLocks/>
            <a:endCxn id="102" idx="3"/>
          </p:cNvCxnSpPr>
          <p:nvPr/>
        </p:nvCxnSpPr>
        <p:spPr>
          <a:xfrm rot="16200000" flipV="1">
            <a:off x="10130535" y="4197253"/>
            <a:ext cx="624862" cy="75423"/>
          </a:xfrm>
          <a:prstGeom prst="curvedConnector2">
            <a:avLst/>
          </a:prstGeom>
          <a:ln>
            <a:solidFill>
              <a:srgbClr val="9D1E27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55A94CE7-D762-6625-F691-F670D783D22C}"/>
              </a:ext>
            </a:extLst>
          </p:cNvPr>
          <p:cNvSpPr txBox="1"/>
          <p:nvPr/>
        </p:nvSpPr>
        <p:spPr>
          <a:xfrm>
            <a:off x="6096000" y="2603500"/>
            <a:ext cx="212109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900" i="1"/>
              <a:t>Currently buried in the expanded menu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7C81B9B-26B9-C68B-06A4-0CDE6D4BB00F}"/>
              </a:ext>
            </a:extLst>
          </p:cNvPr>
          <p:cNvSpPr txBox="1"/>
          <p:nvPr/>
        </p:nvSpPr>
        <p:spPr>
          <a:xfrm>
            <a:off x="8588692" y="4981814"/>
            <a:ext cx="12747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i="1">
                <a:solidFill>
                  <a:srgbClr val="9D1E27"/>
                </a:solidFill>
              </a:rPr>
              <a:t>Leverage the current </a:t>
            </a:r>
            <a:br>
              <a:rPr lang="en-US" sz="900" i="1">
                <a:solidFill>
                  <a:srgbClr val="9D1E27"/>
                </a:solidFill>
              </a:rPr>
            </a:br>
            <a:r>
              <a:rPr lang="en-US" sz="900" i="1">
                <a:solidFill>
                  <a:srgbClr val="9D1E27"/>
                </a:solidFill>
              </a:rPr>
              <a:t>spend analysis ability </a:t>
            </a:r>
            <a:endParaRPr lang="en-IN" sz="900" i="1">
              <a:solidFill>
                <a:srgbClr val="9D1E27"/>
              </a:solidFill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6951C70-FC4C-CB21-996D-33628AFD0054}"/>
              </a:ext>
            </a:extLst>
          </p:cNvPr>
          <p:cNvCxnSpPr>
            <a:cxnSpLocks/>
            <a:stCxn id="81" idx="2"/>
          </p:cNvCxnSpPr>
          <p:nvPr/>
        </p:nvCxnSpPr>
        <p:spPr>
          <a:xfrm>
            <a:off x="9132068" y="4963514"/>
            <a:ext cx="0" cy="87117"/>
          </a:xfrm>
          <a:prstGeom prst="line">
            <a:avLst/>
          </a:prstGeom>
          <a:ln>
            <a:solidFill>
              <a:srgbClr val="9D1E2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54A6325-F924-9CF3-4652-356273E3BEFD}"/>
              </a:ext>
            </a:extLst>
          </p:cNvPr>
          <p:cNvCxnSpPr>
            <a:cxnSpLocks/>
          </p:cNvCxnSpPr>
          <p:nvPr/>
        </p:nvCxnSpPr>
        <p:spPr>
          <a:xfrm>
            <a:off x="9128497" y="5298079"/>
            <a:ext cx="0" cy="87117"/>
          </a:xfrm>
          <a:prstGeom prst="line">
            <a:avLst/>
          </a:prstGeom>
          <a:ln>
            <a:solidFill>
              <a:srgbClr val="9D1E2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84360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334" fill="hold"/>
                                        <p:tgtEl>
                                          <p:spTgt spid="8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9334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13000" fill="hold"/>
                                        <p:tgtEl>
                                          <p:spTgt spid="8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0" fill="hold" display="0">
                  <p:stCondLst>
                    <p:cond delay="indefinite"/>
                  </p:stCondLst>
                </p:cTn>
                <p:tgtEl>
                  <p:spTgt spid="86"/>
                </p:tgtEl>
              </p:cMediaNode>
            </p:video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8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8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6"/>
                  </p:tgtEl>
                </p:cond>
              </p:nextCondLst>
            </p:seq>
            <p:video>
              <p:cMediaNode vol="80000">
                <p:cTn id="16" repeatCount="indefinite" fill="hold" display="0">
                  <p:stCondLst>
                    <p:cond delay="indefinite"/>
                  </p:stCondLst>
                </p:cTn>
                <p:tgtEl>
                  <p:spTgt spid="84"/>
                </p:tgtEl>
              </p:cMediaNode>
            </p:video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8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1" dur="1" fill="hold"/>
                                        <p:tgtEl>
                                          <p:spTgt spid="8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4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screenshot of a cell phone&#10;&#10;AI-generated content may be incorrect.">
            <a:extLst>
              <a:ext uri="{FF2B5EF4-FFF2-40B4-BE49-F238E27FC236}">
                <a16:creationId xmlns:a16="http://schemas.microsoft.com/office/drawing/2014/main" id="{8DF268B6-C428-EF7D-BC90-77E0B121BB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7796" y="1256768"/>
            <a:ext cx="2351890" cy="4951348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0DA1EB8-87CF-4588-A1FD-4756F9A28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3210079" y="1573887"/>
            <a:ext cx="0" cy="3710227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screenshot of a phone&#10;&#10;AI-generated content may be incorrect.">
            <a:extLst>
              <a:ext uri="{FF2B5EF4-FFF2-40B4-BE49-F238E27FC236}">
                <a16:creationId xmlns:a16="http://schemas.microsoft.com/office/drawing/2014/main" id="{52DD48B3-A053-9D34-A7BA-519B0B6ED4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249" y="1309794"/>
            <a:ext cx="2364268" cy="4951350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7A4E378-EA57-47B9-B1EB-58B998F6CF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072595" y="1573887"/>
            <a:ext cx="0" cy="3710227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A screenshot of a phone&#10;&#10;AI-generated content may be incorrect.">
            <a:extLst>
              <a:ext uri="{FF2B5EF4-FFF2-40B4-BE49-F238E27FC236}">
                <a16:creationId xmlns:a16="http://schemas.microsoft.com/office/drawing/2014/main" id="{2C897F10-1D58-C0EC-1253-422921F437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57967" y="1387033"/>
            <a:ext cx="2376646" cy="4951349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2B31ED6-76F0-425A-9A41-C947AEF9C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956620" y="1573887"/>
            <a:ext cx="0" cy="3710227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screenshot of a cell phone&#10;&#10;AI-generated content may be incorrect.">
            <a:extLst>
              <a:ext uri="{FF2B5EF4-FFF2-40B4-BE49-F238E27FC236}">
                <a16:creationId xmlns:a16="http://schemas.microsoft.com/office/drawing/2014/main" id="{1E2784C6-79BA-2074-4FA8-7B40FD9892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27164" y="1283810"/>
            <a:ext cx="2413782" cy="495134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062DC86-3950-FC63-312D-255E3E49F3E4}"/>
              </a:ext>
            </a:extLst>
          </p:cNvPr>
          <p:cNvSpPr txBox="1"/>
          <p:nvPr/>
        </p:nvSpPr>
        <p:spPr>
          <a:xfrm>
            <a:off x="164758" y="439842"/>
            <a:ext cx="87918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i="1">
                <a:solidFill>
                  <a:srgbClr val="9D1E27"/>
                </a:solidFill>
              </a:rPr>
              <a:t>Exhibit 1: Expediated Customer Journey with Search 2.0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82EF3A5-B50E-BF54-89AA-ABB002F348B1}"/>
              </a:ext>
            </a:extLst>
          </p:cNvPr>
          <p:cNvGrpSpPr/>
          <p:nvPr/>
        </p:nvGrpSpPr>
        <p:grpSpPr>
          <a:xfrm>
            <a:off x="925902" y="950933"/>
            <a:ext cx="2204772" cy="665753"/>
            <a:chOff x="749577" y="1014073"/>
            <a:chExt cx="2204772" cy="665753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26C761F-B579-84CA-8B16-2236DC8DA594}"/>
                </a:ext>
              </a:extLst>
            </p:cNvPr>
            <p:cNvSpPr/>
            <p:nvPr/>
          </p:nvSpPr>
          <p:spPr>
            <a:xfrm>
              <a:off x="749577" y="1014074"/>
              <a:ext cx="2204772" cy="394876"/>
            </a:xfrm>
            <a:prstGeom prst="rect">
              <a:avLst/>
            </a:prstGeom>
            <a:solidFill>
              <a:srgbClr val="F6CDD3"/>
            </a:solidFill>
            <a:ln>
              <a:solidFill>
                <a:srgbClr val="F6CDD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altLang="en-US" sz="1000">
                  <a:solidFill>
                    <a:schemeClr val="tx1"/>
                  </a:solidFill>
                </a:rPr>
                <a:t>Current Search Bar gets replaced with the new &amp; updated </a:t>
              </a:r>
              <a:r>
                <a:rPr lang="en-US" altLang="en-US" sz="1000" b="1">
                  <a:solidFill>
                    <a:schemeClr val="tx1"/>
                  </a:solidFill>
                </a:rPr>
                <a:t>Search 2.0</a:t>
              </a:r>
              <a:endParaRPr lang="en-IN" sz="100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9B29BFC-950F-CE33-DF31-DCC94297E776}"/>
                </a:ext>
              </a:extLst>
            </p:cNvPr>
            <p:cNvCxnSpPr>
              <a:cxnSpLocks/>
            </p:cNvCxnSpPr>
            <p:nvPr/>
          </p:nvCxnSpPr>
          <p:spPr>
            <a:xfrm>
              <a:off x="749577" y="1014073"/>
              <a:ext cx="0" cy="665753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4812104F-206D-F9C4-4CD2-822651BC5989}"/>
              </a:ext>
            </a:extLst>
          </p:cNvPr>
          <p:cNvSpPr/>
          <p:nvPr/>
        </p:nvSpPr>
        <p:spPr>
          <a:xfrm>
            <a:off x="3806186" y="2944474"/>
            <a:ext cx="2137310" cy="394876"/>
          </a:xfrm>
          <a:prstGeom prst="rect">
            <a:avLst/>
          </a:prstGeom>
          <a:solidFill>
            <a:srgbClr val="F6CDD3"/>
          </a:solidFill>
          <a:ln>
            <a:solidFill>
              <a:srgbClr val="F6CD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en-US" sz="1000">
                <a:solidFill>
                  <a:schemeClr val="tx1"/>
                </a:solidFill>
                <a:latin typeface="Arial" panose="020B0604020202020204" pitchFamily="34" charset="0"/>
              </a:rPr>
              <a:t>User becomes aware about the new bar once </a:t>
            </a:r>
            <a:r>
              <a:rPr lang="en-US" altLang="en-US" sz="1000" b="1">
                <a:solidFill>
                  <a:schemeClr val="tx1"/>
                </a:solidFill>
                <a:latin typeface="Arial" panose="020B0604020202020204" pitchFamily="34" charset="0"/>
              </a:rPr>
              <a:t>updating app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B76A3FA-2D06-4A4F-9140-FD5744AEB04A}"/>
              </a:ext>
            </a:extLst>
          </p:cNvPr>
          <p:cNvCxnSpPr>
            <a:cxnSpLocks/>
          </p:cNvCxnSpPr>
          <p:nvPr/>
        </p:nvCxnSpPr>
        <p:spPr>
          <a:xfrm>
            <a:off x="3806186" y="2944473"/>
            <a:ext cx="0" cy="66575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E60B52DD-15E3-2107-4A7F-D8F989906843}"/>
              </a:ext>
            </a:extLst>
          </p:cNvPr>
          <p:cNvSpPr/>
          <p:nvPr/>
        </p:nvSpPr>
        <p:spPr>
          <a:xfrm>
            <a:off x="6904516" y="1283810"/>
            <a:ext cx="2273543" cy="394876"/>
          </a:xfrm>
          <a:prstGeom prst="rect">
            <a:avLst/>
          </a:prstGeom>
          <a:solidFill>
            <a:srgbClr val="F6CDD3"/>
          </a:solidFill>
          <a:ln>
            <a:solidFill>
              <a:srgbClr val="F6CD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sz="1000" b="1">
                <a:solidFill>
                  <a:schemeClr val="tx1"/>
                </a:solidFill>
              </a:rPr>
              <a:t>Recommended Searches </a:t>
            </a:r>
            <a:r>
              <a:rPr lang="en-IN" sz="1000">
                <a:solidFill>
                  <a:schemeClr val="tx1"/>
                </a:solidFill>
              </a:rPr>
              <a:t>are provided to those navigating normally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C47AB3A-8E30-8386-25A0-E746C33E445F}"/>
              </a:ext>
            </a:extLst>
          </p:cNvPr>
          <p:cNvCxnSpPr>
            <a:cxnSpLocks/>
          </p:cNvCxnSpPr>
          <p:nvPr/>
        </p:nvCxnSpPr>
        <p:spPr>
          <a:xfrm>
            <a:off x="6898717" y="1283810"/>
            <a:ext cx="0" cy="66575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E4BD13AC-B3C9-14C2-20AD-59AC04BA9AE1}"/>
              </a:ext>
            </a:extLst>
          </p:cNvPr>
          <p:cNvSpPr/>
          <p:nvPr/>
        </p:nvSpPr>
        <p:spPr>
          <a:xfrm>
            <a:off x="6790900" y="2832659"/>
            <a:ext cx="2016615" cy="394876"/>
          </a:xfrm>
          <a:prstGeom prst="rect">
            <a:avLst/>
          </a:prstGeom>
          <a:solidFill>
            <a:srgbClr val="F6CDD3"/>
          </a:solidFill>
          <a:ln>
            <a:solidFill>
              <a:srgbClr val="F6CD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b="1">
                <a:solidFill>
                  <a:schemeClr val="tx1"/>
                </a:solidFill>
              </a:rPr>
              <a:t>Query Examples and results </a:t>
            </a:r>
            <a:r>
              <a:rPr lang="en-US" sz="1000">
                <a:solidFill>
                  <a:schemeClr val="tx1"/>
                </a:solidFill>
              </a:rPr>
              <a:t>are provided to explain functionality</a:t>
            </a:r>
            <a:endParaRPr lang="en-IN" sz="1000">
              <a:solidFill>
                <a:schemeClr val="tx1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6A850B7-DF41-2D52-74CC-7AE61F75F6F4}"/>
              </a:ext>
            </a:extLst>
          </p:cNvPr>
          <p:cNvCxnSpPr>
            <a:cxnSpLocks/>
          </p:cNvCxnSpPr>
          <p:nvPr/>
        </p:nvCxnSpPr>
        <p:spPr>
          <a:xfrm>
            <a:off x="6790900" y="2832658"/>
            <a:ext cx="0" cy="66575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74B72D92-902A-1E64-8EA5-3E9CE2B1FA7E}"/>
              </a:ext>
            </a:extLst>
          </p:cNvPr>
          <p:cNvSpPr/>
          <p:nvPr/>
        </p:nvSpPr>
        <p:spPr>
          <a:xfrm>
            <a:off x="6711985" y="4579625"/>
            <a:ext cx="2016615" cy="394876"/>
          </a:xfrm>
          <a:prstGeom prst="rect">
            <a:avLst/>
          </a:prstGeom>
          <a:solidFill>
            <a:srgbClr val="F6CDD3"/>
          </a:solidFill>
          <a:ln>
            <a:solidFill>
              <a:srgbClr val="F6CD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en-US" sz="1000">
                <a:solidFill>
                  <a:schemeClr val="tx1"/>
                </a:solidFill>
              </a:rPr>
              <a:t>User enters the query is </a:t>
            </a:r>
            <a:r>
              <a:rPr lang="en-US" altLang="en-US" sz="1000" b="1">
                <a:solidFill>
                  <a:schemeClr val="tx1"/>
                </a:solidFill>
              </a:rPr>
              <a:t>casual textual format </a:t>
            </a:r>
            <a:endParaRPr lang="en-IN" sz="1000" b="1">
              <a:solidFill>
                <a:schemeClr val="tx1"/>
              </a:solidFill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FDB9C21-3085-7F10-751B-8AD24BF5AC46}"/>
              </a:ext>
            </a:extLst>
          </p:cNvPr>
          <p:cNvCxnSpPr>
            <a:cxnSpLocks/>
          </p:cNvCxnSpPr>
          <p:nvPr/>
        </p:nvCxnSpPr>
        <p:spPr>
          <a:xfrm>
            <a:off x="6711985" y="4308748"/>
            <a:ext cx="0" cy="66575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DDFD6818-71AA-1758-14DD-173287C8DAD3}"/>
              </a:ext>
            </a:extLst>
          </p:cNvPr>
          <p:cNvSpPr/>
          <p:nvPr/>
        </p:nvSpPr>
        <p:spPr>
          <a:xfrm>
            <a:off x="9580087" y="926301"/>
            <a:ext cx="2016615" cy="394876"/>
          </a:xfrm>
          <a:prstGeom prst="rect">
            <a:avLst/>
          </a:prstGeom>
          <a:solidFill>
            <a:srgbClr val="F6CDD3"/>
          </a:solidFill>
          <a:ln>
            <a:solidFill>
              <a:srgbClr val="F6CD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sz="1000">
                <a:solidFill>
                  <a:schemeClr val="tx1"/>
                </a:solidFill>
              </a:rPr>
              <a:t>The LLM fetches the data from the application and shows result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E1B7903-D21B-EA44-97C8-70D4FCA10476}"/>
              </a:ext>
            </a:extLst>
          </p:cNvPr>
          <p:cNvCxnSpPr>
            <a:cxnSpLocks/>
          </p:cNvCxnSpPr>
          <p:nvPr/>
        </p:nvCxnSpPr>
        <p:spPr>
          <a:xfrm>
            <a:off x="9580087" y="926300"/>
            <a:ext cx="0" cy="66575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7B910699-1CF2-C987-918F-FDE7DA6CFECA}"/>
              </a:ext>
            </a:extLst>
          </p:cNvPr>
          <p:cNvSpPr/>
          <p:nvPr/>
        </p:nvSpPr>
        <p:spPr>
          <a:xfrm>
            <a:off x="9748106" y="3810284"/>
            <a:ext cx="2168837" cy="394876"/>
          </a:xfrm>
          <a:prstGeom prst="rect">
            <a:avLst/>
          </a:prstGeom>
          <a:solidFill>
            <a:srgbClr val="F6CDD3"/>
          </a:solidFill>
          <a:ln>
            <a:solidFill>
              <a:srgbClr val="F6CD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en-US" sz="1000" b="1">
                <a:solidFill>
                  <a:schemeClr val="tx1"/>
                </a:solidFill>
              </a:rPr>
              <a:t>Further recommendations </a:t>
            </a:r>
            <a:r>
              <a:rPr lang="en-US" altLang="en-US" sz="1000">
                <a:solidFill>
                  <a:schemeClr val="tx1"/>
                </a:solidFill>
              </a:rPr>
              <a:t>are provided to educate the user further </a:t>
            </a:r>
            <a:endParaRPr lang="en-IN" sz="1000">
              <a:solidFill>
                <a:schemeClr val="tx1"/>
              </a:solidFill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A9EDDD7-B6DB-D9F3-5D81-E0D2AFB1286E}"/>
              </a:ext>
            </a:extLst>
          </p:cNvPr>
          <p:cNvCxnSpPr>
            <a:cxnSpLocks/>
          </p:cNvCxnSpPr>
          <p:nvPr/>
        </p:nvCxnSpPr>
        <p:spPr>
          <a:xfrm>
            <a:off x="9737280" y="3582980"/>
            <a:ext cx="0" cy="66575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A815128-A73C-A569-DCFE-C7A44AF9FE8D}"/>
              </a:ext>
            </a:extLst>
          </p:cNvPr>
          <p:cNvGrpSpPr>
            <a:grpSpLocks noChangeAspect="1"/>
          </p:cNvGrpSpPr>
          <p:nvPr/>
        </p:nvGrpSpPr>
        <p:grpSpPr>
          <a:xfrm>
            <a:off x="716887" y="5715002"/>
            <a:ext cx="2108861" cy="384128"/>
            <a:chOff x="6920765" y="2179288"/>
            <a:chExt cx="1557650" cy="300731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30CD8BDA-6E94-67C5-22DD-754121394D8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920765" y="2179288"/>
              <a:ext cx="1557650" cy="300731"/>
              <a:chOff x="3134520" y="5755481"/>
              <a:chExt cx="2956123" cy="493713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CA10F70A-D005-DCFC-3BA7-C66FE121286A}"/>
                  </a:ext>
                </a:extLst>
              </p:cNvPr>
              <p:cNvSpPr/>
              <p:nvPr/>
            </p:nvSpPr>
            <p:spPr>
              <a:xfrm>
                <a:off x="3134520" y="5755481"/>
                <a:ext cx="2901949" cy="493713"/>
              </a:xfrm>
              <a:prstGeom prst="rect">
                <a:avLst/>
              </a:prstGeom>
              <a:solidFill>
                <a:srgbClr val="F9F9F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515579F5-57B9-E791-B183-CE1D4A0E39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237496" y="5878481"/>
                <a:ext cx="193290" cy="264994"/>
              </a:xfrm>
              <a:prstGeom prst="rect">
                <a:avLst/>
              </a:prstGeom>
            </p:spPr>
          </p:pic>
          <p:pic>
            <p:nvPicPr>
              <p:cNvPr id="45" name="Picture 44">
                <a:extLst>
                  <a:ext uri="{FF2B5EF4-FFF2-40B4-BE49-F238E27FC236}">
                    <a16:creationId xmlns:a16="http://schemas.microsoft.com/office/drawing/2014/main" id="{5E371F1A-CAF7-3E40-0B93-B9D8EA7330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687730" y="5877778"/>
                <a:ext cx="376981" cy="266400"/>
              </a:xfrm>
              <a:prstGeom prst="rect">
                <a:avLst/>
              </a:prstGeom>
            </p:spPr>
          </p:pic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497E78AE-0E76-6FBA-025C-92A528CE22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734389" y="5877778"/>
                <a:ext cx="202097" cy="266400"/>
              </a:xfrm>
              <a:prstGeom prst="rect">
                <a:avLst/>
              </a:prstGeom>
            </p:spPr>
          </p:pic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44C21BD0-9F2F-1EAA-CCD4-54E9F60E9E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321655" y="5877778"/>
                <a:ext cx="155790" cy="266400"/>
              </a:xfrm>
              <a:prstGeom prst="rect">
                <a:avLst/>
              </a:prstGeom>
            </p:spPr>
          </p:pic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E3B047A9-740A-1340-660A-4963DD00E1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193428" y="5877778"/>
                <a:ext cx="187764" cy="266400"/>
              </a:xfrm>
              <a:prstGeom prst="rect">
                <a:avLst/>
              </a:prstGeom>
            </p:spPr>
          </p:pic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11E2648F-C473-EA31-C407-53F13E80C1BD}"/>
                  </a:ext>
                </a:extLst>
              </p:cNvPr>
              <p:cNvGrpSpPr/>
              <p:nvPr/>
            </p:nvGrpSpPr>
            <p:grpSpPr>
              <a:xfrm>
                <a:off x="5385710" y="5834379"/>
                <a:ext cx="704933" cy="353323"/>
                <a:chOff x="5169016" y="5239067"/>
                <a:chExt cx="704933" cy="353323"/>
              </a:xfrm>
            </p:grpSpPr>
            <p:sp>
              <p:nvSpPr>
                <p:cNvPr id="50" name="Rectangle: Rounded Corners 49">
                  <a:extLst>
                    <a:ext uri="{FF2B5EF4-FFF2-40B4-BE49-F238E27FC236}">
                      <a16:creationId xmlns:a16="http://schemas.microsoft.com/office/drawing/2014/main" id="{38879996-DF23-AC82-365E-17107824E56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353044" y="5239067"/>
                  <a:ext cx="340525" cy="342000"/>
                </a:xfrm>
                <a:prstGeom prst="roundRect">
                  <a:avLst>
                    <a:gd name="adj" fmla="val 13889"/>
                  </a:avLst>
                </a:prstGeom>
                <a:solidFill>
                  <a:srgbClr val="D09F42"/>
                </a:solidFill>
                <a:ln>
                  <a:noFill/>
                </a:ln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/>
                </a:p>
              </p:txBody>
            </p: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0184C55E-6C1D-9572-EAF1-9F87EEAF4C5E}"/>
                    </a:ext>
                  </a:extLst>
                </p:cNvPr>
                <p:cNvSpPr txBox="1"/>
                <p:nvPr/>
              </p:nvSpPr>
              <p:spPr>
                <a:xfrm>
                  <a:off x="5169016" y="5404490"/>
                  <a:ext cx="704933" cy="1879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IN" sz="350" b="1">
                      <a:solidFill>
                        <a:srgbClr val="9D1E27"/>
                      </a:solidFill>
                    </a:rPr>
                    <a:t>REWARDS</a:t>
                  </a:r>
                </a:p>
              </p:txBody>
            </p:sp>
          </p:grpSp>
        </p:grpSp>
        <p:pic>
          <p:nvPicPr>
            <p:cNvPr id="42" name="Picture 41" descr="A red square with white text">
              <a:extLst>
                <a:ext uri="{FF2B5EF4-FFF2-40B4-BE49-F238E27FC236}">
                  <a16:creationId xmlns:a16="http://schemas.microsoft.com/office/drawing/2014/main" id="{788154C4-5FAB-9A9C-E446-8975369317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2"/>
                </a:ext>
              </a:extLst>
            </a:blip>
            <a:srcRect l="32936" t="16981" r="33488" b="17636"/>
            <a:stretch>
              <a:fillRect/>
            </a:stretch>
          </p:blipFill>
          <p:spPr>
            <a:xfrm>
              <a:off x="8252007" y="2258540"/>
              <a:ext cx="82761" cy="84609"/>
            </a:xfrm>
            <a:prstGeom prst="roundRect">
              <a:avLst/>
            </a:prstGeom>
          </p:spPr>
        </p:pic>
      </p:grpSp>
      <p:sp>
        <p:nvSpPr>
          <p:cNvPr id="6" name="Arrow: Chevron 10">
            <a:extLst>
              <a:ext uri="{FF2B5EF4-FFF2-40B4-BE49-F238E27FC236}">
                <a16:creationId xmlns:a16="http://schemas.microsoft.com/office/drawing/2014/main" id="{FE9A16C7-894B-CF50-B644-2BC13FC8DE59}"/>
              </a:ext>
            </a:extLst>
          </p:cNvPr>
          <p:cNvSpPr/>
          <p:nvPr/>
        </p:nvSpPr>
        <p:spPr>
          <a:xfrm>
            <a:off x="2457845" y="0"/>
            <a:ext cx="2530236" cy="324000"/>
          </a:xfrm>
          <a:prstGeom prst="chevron">
            <a:avLst>
              <a:gd name="adj" fmla="val 34868"/>
            </a:avLst>
          </a:prstGeom>
          <a:solidFill>
            <a:srgbClr val="CE8E9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IN" sz="1200" b="1">
                <a:solidFill>
                  <a:srgbClr val="9D1E27"/>
                </a:solidFill>
                <a:cs typeface="Calibri" panose="020F0502020204030204" pitchFamily="34" charset="0"/>
              </a:rPr>
              <a:t>Slide 2: Gaps &amp; Solution 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20A2FE23-BD26-4334-4D89-D12FBF813426}"/>
              </a:ext>
            </a:extLst>
          </p:cNvPr>
          <p:cNvSpPr/>
          <p:nvPr/>
        </p:nvSpPr>
        <p:spPr>
          <a:xfrm>
            <a:off x="0" y="3275"/>
            <a:ext cx="2504279" cy="315083"/>
          </a:xfrm>
          <a:prstGeom prst="homePlate">
            <a:avLst>
              <a:gd name="adj" fmla="val 34211"/>
            </a:avLst>
          </a:prstGeom>
          <a:solidFill>
            <a:srgbClr val="CE8E9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IN" sz="1200" b="1">
                <a:solidFill>
                  <a:srgbClr val="9D1E27"/>
                </a:solidFill>
                <a:cs typeface="Calibri" panose="020F0502020204030204" pitchFamily="34" charset="0"/>
              </a:rPr>
              <a:t>Slide 1: Research &amp; Positioning</a:t>
            </a:r>
          </a:p>
        </p:txBody>
      </p:sp>
      <p:sp>
        <p:nvSpPr>
          <p:cNvPr id="10" name="Arrow: Chevron 10">
            <a:extLst>
              <a:ext uri="{FF2B5EF4-FFF2-40B4-BE49-F238E27FC236}">
                <a16:creationId xmlns:a16="http://schemas.microsoft.com/office/drawing/2014/main" id="{35211C58-63DF-77B6-4DF4-42F99B8945F2}"/>
              </a:ext>
            </a:extLst>
          </p:cNvPr>
          <p:cNvSpPr/>
          <p:nvPr/>
        </p:nvSpPr>
        <p:spPr>
          <a:xfrm>
            <a:off x="4941388" y="0"/>
            <a:ext cx="2483543" cy="324000"/>
          </a:xfrm>
          <a:prstGeom prst="chevron">
            <a:avLst>
              <a:gd name="adj" fmla="val 34868"/>
            </a:avLst>
          </a:prstGeom>
          <a:solidFill>
            <a:srgbClr val="9D1E27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US" sz="1200" b="1">
                <a:solidFill>
                  <a:schemeClr val="bg1"/>
                </a:solidFill>
                <a:cs typeface="Calibri" panose="020F0502020204030204" pitchFamily="34" charset="0"/>
              </a:rPr>
              <a:t>E</a:t>
            </a:r>
            <a:r>
              <a:rPr lang="en-IN" sz="1200" b="1">
                <a:solidFill>
                  <a:schemeClr val="bg1"/>
                </a:solidFill>
                <a:cs typeface="Calibri" panose="020F0502020204030204" pitchFamily="34" charset="0"/>
              </a:rPr>
              <a:t>xhibit 1 : Search 2.0 </a:t>
            </a:r>
            <a:endParaRPr lang="en-IN" sz="105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>
        <p:nvSpPr>
          <p:cNvPr id="12" name="Arrow: Chevron 10">
            <a:extLst>
              <a:ext uri="{FF2B5EF4-FFF2-40B4-BE49-F238E27FC236}">
                <a16:creationId xmlns:a16="http://schemas.microsoft.com/office/drawing/2014/main" id="{4F1CFC41-F69A-CD5D-FD5E-5F8398888DAC}"/>
              </a:ext>
            </a:extLst>
          </p:cNvPr>
          <p:cNvSpPr/>
          <p:nvPr/>
        </p:nvSpPr>
        <p:spPr>
          <a:xfrm>
            <a:off x="7383998" y="0"/>
            <a:ext cx="2309224" cy="324000"/>
          </a:xfrm>
          <a:prstGeom prst="chevron">
            <a:avLst>
              <a:gd name="adj" fmla="val 34868"/>
            </a:avLst>
          </a:prstGeom>
          <a:solidFill>
            <a:srgbClr val="CE8E9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IN" sz="1200" b="1">
                <a:solidFill>
                  <a:srgbClr val="9D1E27"/>
                </a:solidFill>
                <a:cs typeface="Calibri" panose="020F0502020204030204" pitchFamily="34" charset="0"/>
              </a:rPr>
              <a:t>Exhibit 2 : Recommended Rewards </a:t>
            </a:r>
            <a:endParaRPr lang="en-IN" sz="1050">
              <a:solidFill>
                <a:srgbClr val="9D1E27"/>
              </a:solidFill>
              <a:cs typeface="Calibri" panose="020F0502020204030204" pitchFamily="34" charset="0"/>
            </a:endParaRPr>
          </a:p>
        </p:txBody>
      </p:sp>
      <p:sp>
        <p:nvSpPr>
          <p:cNvPr id="14" name="Arrow: Chevron 10">
            <a:extLst>
              <a:ext uri="{FF2B5EF4-FFF2-40B4-BE49-F238E27FC236}">
                <a16:creationId xmlns:a16="http://schemas.microsoft.com/office/drawing/2014/main" id="{908D5BDA-8D84-FE6D-59EC-1FDD413328AC}"/>
              </a:ext>
            </a:extLst>
          </p:cNvPr>
          <p:cNvSpPr/>
          <p:nvPr/>
        </p:nvSpPr>
        <p:spPr>
          <a:xfrm>
            <a:off x="9693222" y="0"/>
            <a:ext cx="2483543" cy="324000"/>
          </a:xfrm>
          <a:prstGeom prst="chevron">
            <a:avLst>
              <a:gd name="adj" fmla="val 34868"/>
            </a:avLst>
          </a:prstGeom>
          <a:solidFill>
            <a:srgbClr val="CE8E9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US" sz="1200" b="1">
                <a:solidFill>
                  <a:srgbClr val="9D1E27"/>
                </a:solidFill>
                <a:cs typeface="Calibri" panose="020F0502020204030204" pitchFamily="34" charset="0"/>
              </a:rPr>
              <a:t>E</a:t>
            </a:r>
            <a:r>
              <a:rPr lang="en-IN" sz="1200" b="1">
                <a:solidFill>
                  <a:srgbClr val="9D1E27"/>
                </a:solidFill>
                <a:cs typeface="Calibri" panose="020F0502020204030204" pitchFamily="34" charset="0"/>
              </a:rPr>
              <a:t>xhibit 3 : RAG/Costing/Feasibility </a:t>
            </a:r>
            <a:endParaRPr lang="en-IN" sz="1050">
              <a:solidFill>
                <a:srgbClr val="9D1E27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4156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311645-534D-E413-9B35-6B3C1526D7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4" descr="A red rectangular sign with white text&#10;&#10;AI-generated content may be incorrect.">
            <a:extLst>
              <a:ext uri="{FF2B5EF4-FFF2-40B4-BE49-F238E27FC236}">
                <a16:creationId xmlns:a16="http://schemas.microsoft.com/office/drawing/2014/main" id="{AA232DB3-038E-94B4-C4F3-B9A026FB44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8612" t="30022" r="8263" b="29469"/>
          <a:stretch>
            <a:fillRect/>
          </a:stretch>
        </p:blipFill>
        <p:spPr>
          <a:xfrm>
            <a:off x="11157547" y="6458550"/>
            <a:ext cx="991635" cy="362718"/>
          </a:xfrm>
          <a:prstGeom prst="rect">
            <a:avLst/>
          </a:prstGeom>
        </p:spPr>
      </p:pic>
      <p:sp>
        <p:nvSpPr>
          <p:cNvPr id="4" name="Arrow: Chevron 10">
            <a:extLst>
              <a:ext uri="{FF2B5EF4-FFF2-40B4-BE49-F238E27FC236}">
                <a16:creationId xmlns:a16="http://schemas.microsoft.com/office/drawing/2014/main" id="{49398433-4017-960C-652B-0E6747728D8C}"/>
              </a:ext>
            </a:extLst>
          </p:cNvPr>
          <p:cNvSpPr/>
          <p:nvPr/>
        </p:nvSpPr>
        <p:spPr>
          <a:xfrm>
            <a:off x="2457845" y="0"/>
            <a:ext cx="2530236" cy="324000"/>
          </a:xfrm>
          <a:prstGeom prst="chevron">
            <a:avLst>
              <a:gd name="adj" fmla="val 34868"/>
            </a:avLst>
          </a:prstGeom>
          <a:solidFill>
            <a:srgbClr val="9D1E27">
              <a:alpha val="50196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IN" sz="1200" b="1">
                <a:solidFill>
                  <a:srgbClr val="9D1E27"/>
                </a:solidFill>
                <a:cs typeface="Calibri" panose="020F0502020204030204" pitchFamily="34" charset="0"/>
              </a:rPr>
              <a:t>Slide 2: Gaps &amp; Solution </a:t>
            </a: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07ADA312-BD14-14FC-62CC-B8FBE13A43C8}"/>
              </a:ext>
            </a:extLst>
          </p:cNvPr>
          <p:cNvSpPr/>
          <p:nvPr/>
        </p:nvSpPr>
        <p:spPr>
          <a:xfrm>
            <a:off x="15235" y="3275"/>
            <a:ext cx="2489044" cy="324000"/>
          </a:xfrm>
          <a:prstGeom prst="homePlate">
            <a:avLst>
              <a:gd name="adj" fmla="val 34211"/>
            </a:avLst>
          </a:prstGeom>
          <a:solidFill>
            <a:srgbClr val="9D1E27">
              <a:alpha val="50196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008" tIns="32004" rIns="97002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IN" sz="1200" b="1">
                <a:solidFill>
                  <a:srgbClr val="9D1E27"/>
                </a:solidFill>
                <a:cs typeface="Calibri" panose="020F0502020204030204" pitchFamily="34" charset="0"/>
              </a:rPr>
              <a:t>Slide 1: Research &amp; Positioning</a:t>
            </a:r>
          </a:p>
        </p:txBody>
      </p:sp>
      <p:sp>
        <p:nvSpPr>
          <p:cNvPr id="6" name="Arrow: Chevron 10">
            <a:extLst>
              <a:ext uri="{FF2B5EF4-FFF2-40B4-BE49-F238E27FC236}">
                <a16:creationId xmlns:a16="http://schemas.microsoft.com/office/drawing/2014/main" id="{8E96D453-312E-9A07-59CA-3915523863AA}"/>
              </a:ext>
            </a:extLst>
          </p:cNvPr>
          <p:cNvSpPr/>
          <p:nvPr/>
        </p:nvSpPr>
        <p:spPr>
          <a:xfrm>
            <a:off x="4941388" y="0"/>
            <a:ext cx="2483543" cy="324000"/>
          </a:xfrm>
          <a:prstGeom prst="chevron">
            <a:avLst>
              <a:gd name="adj" fmla="val 34868"/>
            </a:avLst>
          </a:prstGeom>
          <a:solidFill>
            <a:srgbClr val="9D1E27">
              <a:alpha val="50196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US" sz="1200" b="1">
                <a:solidFill>
                  <a:srgbClr val="9D1E27"/>
                </a:solidFill>
                <a:cs typeface="Calibri" panose="020F0502020204030204" pitchFamily="34" charset="0"/>
              </a:rPr>
              <a:t>E</a:t>
            </a:r>
            <a:r>
              <a:rPr lang="en-IN" sz="1200" b="1">
                <a:solidFill>
                  <a:srgbClr val="9D1E27"/>
                </a:solidFill>
                <a:cs typeface="Calibri" panose="020F0502020204030204" pitchFamily="34" charset="0"/>
              </a:rPr>
              <a:t>xhibit 1 : Search 2.0 </a:t>
            </a:r>
          </a:p>
        </p:txBody>
      </p:sp>
      <p:sp>
        <p:nvSpPr>
          <p:cNvPr id="7" name="Arrow: Chevron 10">
            <a:extLst>
              <a:ext uri="{FF2B5EF4-FFF2-40B4-BE49-F238E27FC236}">
                <a16:creationId xmlns:a16="http://schemas.microsoft.com/office/drawing/2014/main" id="{B2E00820-6E43-0FEE-4C85-74AF2952249F}"/>
              </a:ext>
            </a:extLst>
          </p:cNvPr>
          <p:cNvSpPr/>
          <p:nvPr/>
        </p:nvSpPr>
        <p:spPr>
          <a:xfrm>
            <a:off x="7383998" y="0"/>
            <a:ext cx="2309224" cy="324000"/>
          </a:xfrm>
          <a:prstGeom prst="chevron">
            <a:avLst>
              <a:gd name="adj" fmla="val 34868"/>
            </a:avLst>
          </a:prstGeom>
          <a:solidFill>
            <a:srgbClr val="9D1E27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IN" sz="1200" b="1">
                <a:solidFill>
                  <a:schemeClr val="bg1"/>
                </a:solidFill>
                <a:cs typeface="Calibri" panose="020F0502020204030204" pitchFamily="34" charset="0"/>
              </a:rPr>
              <a:t>Exhibit 2 : Recommended Rewards </a:t>
            </a:r>
          </a:p>
        </p:txBody>
      </p:sp>
      <p:sp>
        <p:nvSpPr>
          <p:cNvPr id="8" name="Arrow: Chevron 10">
            <a:extLst>
              <a:ext uri="{FF2B5EF4-FFF2-40B4-BE49-F238E27FC236}">
                <a16:creationId xmlns:a16="http://schemas.microsoft.com/office/drawing/2014/main" id="{DDA9C9C1-E5BF-31E8-B383-C24625EF3342}"/>
              </a:ext>
            </a:extLst>
          </p:cNvPr>
          <p:cNvSpPr/>
          <p:nvPr/>
        </p:nvSpPr>
        <p:spPr>
          <a:xfrm>
            <a:off x="9693222" y="0"/>
            <a:ext cx="2483543" cy="324000"/>
          </a:xfrm>
          <a:prstGeom prst="chevron">
            <a:avLst>
              <a:gd name="adj" fmla="val 34868"/>
            </a:avLst>
          </a:prstGeom>
          <a:solidFill>
            <a:srgbClr val="9D1E27">
              <a:alpha val="50196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US" sz="1200" b="1">
                <a:solidFill>
                  <a:srgbClr val="9D1E27"/>
                </a:solidFill>
                <a:cs typeface="Calibri" panose="020F0502020204030204" pitchFamily="34" charset="0"/>
              </a:rPr>
              <a:t>E</a:t>
            </a:r>
            <a:r>
              <a:rPr lang="en-IN" sz="1200" b="1">
                <a:solidFill>
                  <a:srgbClr val="9D1E27"/>
                </a:solidFill>
                <a:cs typeface="Calibri" panose="020F0502020204030204" pitchFamily="34" charset="0"/>
              </a:rPr>
              <a:t>xhibit 3 : RAG/Costing/Feasability </a:t>
            </a:r>
            <a:endParaRPr lang="en-IN" sz="1050">
              <a:solidFill>
                <a:srgbClr val="9D1E27"/>
              </a:solidFill>
              <a:cs typeface="Calibri" panose="020F050202020403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43C83FA-3984-8515-24AE-316F50C6CE0A}"/>
              </a:ext>
            </a:extLst>
          </p:cNvPr>
          <p:cNvSpPr txBox="1"/>
          <p:nvPr/>
        </p:nvSpPr>
        <p:spPr>
          <a:xfrm>
            <a:off x="9121378" y="189904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IN"/>
          </a:p>
        </p:txBody>
      </p:sp>
      <p:pic>
        <p:nvPicPr>
          <p:cNvPr id="116" name="Picture 115">
            <a:extLst>
              <a:ext uri="{FF2B5EF4-FFF2-40B4-BE49-F238E27FC236}">
                <a16:creationId xmlns:a16="http://schemas.microsoft.com/office/drawing/2014/main" id="{7B751B7B-C0E0-B2E3-80F6-B2131FD36E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2655" y="1162443"/>
            <a:ext cx="2400000" cy="4950000"/>
          </a:xfrm>
          <a:prstGeom prst="rect">
            <a:avLst/>
          </a:prstGeom>
        </p:spPr>
      </p:pic>
      <p:pic>
        <p:nvPicPr>
          <p:cNvPr id="121" name="Picture 120">
            <a:extLst>
              <a:ext uri="{FF2B5EF4-FFF2-40B4-BE49-F238E27FC236}">
                <a16:creationId xmlns:a16="http://schemas.microsoft.com/office/drawing/2014/main" id="{5B253A97-BB96-844A-2B5D-E3B74C833F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187" y="1162443"/>
            <a:ext cx="2443205" cy="4950000"/>
          </a:xfrm>
          <a:prstGeom prst="rect">
            <a:avLst/>
          </a:prstGeom>
        </p:spPr>
      </p:pic>
      <p:pic>
        <p:nvPicPr>
          <p:cNvPr id="123" name="Picture 122">
            <a:extLst>
              <a:ext uri="{FF2B5EF4-FFF2-40B4-BE49-F238E27FC236}">
                <a16:creationId xmlns:a16="http://schemas.microsoft.com/office/drawing/2014/main" id="{91E5B8F4-E1C3-377B-744A-26230AC0DD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74918" y="1162443"/>
            <a:ext cx="2339240" cy="4950000"/>
          </a:xfrm>
          <a:prstGeom prst="rect">
            <a:avLst/>
          </a:prstGeom>
        </p:spPr>
      </p:pic>
      <p:pic>
        <p:nvPicPr>
          <p:cNvPr id="128" name="Picture 127">
            <a:extLst>
              <a:ext uri="{FF2B5EF4-FFF2-40B4-BE49-F238E27FC236}">
                <a16:creationId xmlns:a16="http://schemas.microsoft.com/office/drawing/2014/main" id="{A8D803A1-DEB9-C901-F85E-0B12AD97C6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96421" y="1162443"/>
            <a:ext cx="2310000" cy="4950000"/>
          </a:xfrm>
          <a:prstGeom prst="rect">
            <a:avLst/>
          </a:prstGeom>
        </p:spPr>
      </p:pic>
      <p:grpSp>
        <p:nvGrpSpPr>
          <p:cNvPr id="132" name="Group 131">
            <a:extLst>
              <a:ext uri="{FF2B5EF4-FFF2-40B4-BE49-F238E27FC236}">
                <a16:creationId xmlns:a16="http://schemas.microsoft.com/office/drawing/2014/main" id="{BF9AF123-0262-5104-FAE8-07C137423BC0}"/>
              </a:ext>
            </a:extLst>
          </p:cNvPr>
          <p:cNvGrpSpPr/>
          <p:nvPr/>
        </p:nvGrpSpPr>
        <p:grpSpPr>
          <a:xfrm>
            <a:off x="330023" y="5003687"/>
            <a:ext cx="2209800" cy="665753"/>
            <a:chOff x="749577" y="1007723"/>
            <a:chExt cx="2209800" cy="665753"/>
          </a:xfrm>
        </p:grpSpPr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FCBBDC08-6E47-E712-9C9F-C45690076C4C}"/>
                </a:ext>
              </a:extLst>
            </p:cNvPr>
            <p:cNvSpPr/>
            <p:nvPr/>
          </p:nvSpPr>
          <p:spPr>
            <a:xfrm>
              <a:off x="749577" y="1014074"/>
              <a:ext cx="2204772" cy="394876"/>
            </a:xfrm>
            <a:prstGeom prst="rect">
              <a:avLst/>
            </a:prstGeom>
            <a:solidFill>
              <a:srgbClr val="F6CDD3"/>
            </a:solidFill>
            <a:ln>
              <a:solidFill>
                <a:srgbClr val="F6CDD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000">
                  <a:solidFill>
                    <a:schemeClr val="tx1"/>
                  </a:solidFill>
                </a:rPr>
                <a:t>Shift the </a:t>
              </a:r>
              <a:r>
                <a:rPr lang="en-US" sz="1000" b="1">
                  <a:solidFill>
                    <a:schemeClr val="tx1"/>
                  </a:solidFill>
                </a:rPr>
                <a:t>Rewards tab </a:t>
              </a:r>
              <a:r>
                <a:rPr lang="en-US" sz="1000">
                  <a:solidFill>
                    <a:schemeClr val="tx1"/>
                  </a:solidFill>
                </a:rPr>
                <a:t>to the Homepage for better  </a:t>
              </a:r>
              <a:r>
                <a:rPr lang="en-US" sz="1000" b="1">
                  <a:solidFill>
                    <a:schemeClr val="tx1"/>
                  </a:solidFill>
                </a:rPr>
                <a:t>visibility</a:t>
              </a:r>
              <a:endParaRPr lang="en-IN" sz="1000" b="1">
                <a:solidFill>
                  <a:schemeClr val="tx1"/>
                </a:solidFill>
              </a:endParaRPr>
            </a:p>
          </p:txBody>
        </p: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0CEC2F7A-04C9-C8F4-CEF9-AD8770306D5F}"/>
                </a:ext>
              </a:extLst>
            </p:cNvPr>
            <p:cNvCxnSpPr>
              <a:cxnSpLocks/>
            </p:cNvCxnSpPr>
            <p:nvPr/>
          </p:nvCxnSpPr>
          <p:spPr>
            <a:xfrm>
              <a:off x="2959377" y="1007723"/>
              <a:ext cx="0" cy="665753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9648A94D-6F1E-3DD3-DDF4-0B34CCB58F5A}"/>
              </a:ext>
            </a:extLst>
          </p:cNvPr>
          <p:cNvCxnSpPr>
            <a:cxnSpLocks/>
          </p:cNvCxnSpPr>
          <p:nvPr/>
        </p:nvCxnSpPr>
        <p:spPr>
          <a:xfrm>
            <a:off x="3238500" y="1295400"/>
            <a:ext cx="0" cy="4267200"/>
          </a:xfrm>
          <a:prstGeom prst="line">
            <a:avLst/>
          </a:prstGeom>
          <a:ln w="28575">
            <a:solidFill>
              <a:srgbClr val="9D1E2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9113F042-6B91-34CE-AF42-5F50B8CE6E94}"/>
              </a:ext>
            </a:extLst>
          </p:cNvPr>
          <p:cNvCxnSpPr>
            <a:cxnSpLocks/>
          </p:cNvCxnSpPr>
          <p:nvPr/>
        </p:nvCxnSpPr>
        <p:spPr>
          <a:xfrm>
            <a:off x="6210300" y="1295400"/>
            <a:ext cx="0" cy="4267200"/>
          </a:xfrm>
          <a:prstGeom prst="line">
            <a:avLst/>
          </a:prstGeom>
          <a:ln w="28575">
            <a:solidFill>
              <a:srgbClr val="9D1E2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B7C65765-1F2F-4B51-9799-DF1B2C0EE2BA}"/>
              </a:ext>
            </a:extLst>
          </p:cNvPr>
          <p:cNvCxnSpPr>
            <a:cxnSpLocks/>
          </p:cNvCxnSpPr>
          <p:nvPr/>
        </p:nvCxnSpPr>
        <p:spPr>
          <a:xfrm>
            <a:off x="9144000" y="1295400"/>
            <a:ext cx="0" cy="4267200"/>
          </a:xfrm>
          <a:prstGeom prst="line">
            <a:avLst/>
          </a:prstGeom>
          <a:ln w="28575">
            <a:solidFill>
              <a:srgbClr val="9D1E27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685D75A2-F65F-BDA2-07E3-293FB51D238E}"/>
              </a:ext>
            </a:extLst>
          </p:cNvPr>
          <p:cNvGrpSpPr/>
          <p:nvPr/>
        </p:nvGrpSpPr>
        <p:grpSpPr>
          <a:xfrm>
            <a:off x="3722094" y="2816270"/>
            <a:ext cx="2156360" cy="665753"/>
            <a:chOff x="4033879" y="1628820"/>
            <a:chExt cx="2156360" cy="665753"/>
          </a:xfrm>
        </p:grpSpPr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ECECAC5D-A0C5-D9BA-EDC3-0EADC9CB45E7}"/>
                </a:ext>
              </a:extLst>
            </p:cNvPr>
            <p:cNvSpPr/>
            <p:nvPr/>
          </p:nvSpPr>
          <p:spPr>
            <a:xfrm>
              <a:off x="4052929" y="1884931"/>
              <a:ext cx="2137310" cy="394876"/>
            </a:xfrm>
            <a:prstGeom prst="rect">
              <a:avLst/>
            </a:prstGeom>
            <a:solidFill>
              <a:srgbClr val="F6CDD3"/>
            </a:solidFill>
            <a:ln>
              <a:solidFill>
                <a:srgbClr val="F6CDD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altLang="en-US" sz="1000">
                  <a:solidFill>
                    <a:schemeClr val="tx1"/>
                  </a:solidFill>
                  <a:latin typeface="Arial" panose="020B0604020202020204" pitchFamily="34" charset="0"/>
                </a:rPr>
                <a:t>Match the vendors to </a:t>
              </a:r>
              <a:r>
                <a:rPr lang="en-US" altLang="en-US" sz="1000" b="1">
                  <a:solidFill>
                    <a:schemeClr val="tx1"/>
                  </a:solidFill>
                  <a:latin typeface="Arial" panose="020B0604020202020204" pitchFamily="34" charset="0"/>
                </a:rPr>
                <a:t>available vouchers</a:t>
              </a:r>
              <a:r>
                <a:rPr lang="en-US" altLang="en-US" sz="1000">
                  <a:solidFill>
                    <a:schemeClr val="tx1"/>
                  </a:solidFill>
                  <a:latin typeface="Arial" panose="020B0604020202020204" pitchFamily="34" charset="0"/>
                </a:rPr>
                <a:t>, and show the </a:t>
              </a:r>
              <a:r>
                <a:rPr lang="en-US" altLang="en-US" sz="1000" b="1">
                  <a:solidFill>
                    <a:schemeClr val="tx1"/>
                  </a:solidFill>
                  <a:latin typeface="Arial" panose="020B0604020202020204" pitchFamily="34" charset="0"/>
                </a:rPr>
                <a:t>savings </a:t>
              </a:r>
            </a:p>
          </p:txBody>
        </p: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EF292762-A13A-A6BB-F1E2-B103032F3DD1}"/>
                </a:ext>
              </a:extLst>
            </p:cNvPr>
            <p:cNvCxnSpPr>
              <a:cxnSpLocks/>
            </p:cNvCxnSpPr>
            <p:nvPr/>
          </p:nvCxnSpPr>
          <p:spPr>
            <a:xfrm>
              <a:off x="4033879" y="1628820"/>
              <a:ext cx="0" cy="665753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396410EC-F959-7D38-28C2-BD18436026AB}"/>
              </a:ext>
            </a:extLst>
          </p:cNvPr>
          <p:cNvGrpSpPr/>
          <p:nvPr/>
        </p:nvGrpSpPr>
        <p:grpSpPr>
          <a:xfrm>
            <a:off x="6834229" y="1145155"/>
            <a:ext cx="2268496" cy="665753"/>
            <a:chOff x="4052929" y="1884930"/>
            <a:chExt cx="2137310" cy="665753"/>
          </a:xfrm>
        </p:grpSpPr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7A942AF4-3370-2B13-E0D6-0A883B4658C1}"/>
                </a:ext>
              </a:extLst>
            </p:cNvPr>
            <p:cNvSpPr/>
            <p:nvPr/>
          </p:nvSpPr>
          <p:spPr>
            <a:xfrm>
              <a:off x="4052929" y="1884931"/>
              <a:ext cx="2137310" cy="394876"/>
            </a:xfrm>
            <a:prstGeom prst="rect">
              <a:avLst/>
            </a:prstGeom>
            <a:solidFill>
              <a:srgbClr val="F6CDD3"/>
            </a:solidFill>
            <a:ln>
              <a:solidFill>
                <a:srgbClr val="F6CDD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altLang="en-US" sz="1000">
                  <a:solidFill>
                    <a:schemeClr val="tx1"/>
                  </a:solidFill>
                  <a:latin typeface="Arial" panose="020B0604020202020204" pitchFamily="34" charset="0"/>
                </a:rPr>
                <a:t>A calendar overview for better </a:t>
              </a:r>
              <a:r>
                <a:rPr lang="en-US" altLang="en-US" sz="1000" b="1">
                  <a:solidFill>
                    <a:schemeClr val="tx1"/>
                  </a:solidFill>
                  <a:latin typeface="Arial" panose="020B0604020202020204" pitchFamily="34" charset="0"/>
                </a:rPr>
                <a:t>tracking </a:t>
              </a:r>
              <a:r>
                <a:rPr lang="en-US" altLang="en-US" sz="1000">
                  <a:solidFill>
                    <a:schemeClr val="tx1"/>
                  </a:solidFill>
                  <a:latin typeface="Arial" panose="020B0604020202020204" pitchFamily="34" charset="0"/>
                </a:rPr>
                <a:t>and </a:t>
              </a:r>
              <a:r>
                <a:rPr lang="en-US" altLang="en-US" sz="1000" b="1">
                  <a:solidFill>
                    <a:schemeClr val="tx1"/>
                  </a:solidFill>
                  <a:latin typeface="Arial" panose="020B0604020202020204" pitchFamily="34" charset="0"/>
                </a:rPr>
                <a:t>intuitive visualization</a:t>
              </a:r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7F30772E-85FA-F131-CD89-17753DC0079D}"/>
                </a:ext>
              </a:extLst>
            </p:cNvPr>
            <p:cNvCxnSpPr>
              <a:cxnSpLocks/>
            </p:cNvCxnSpPr>
            <p:nvPr/>
          </p:nvCxnSpPr>
          <p:spPr>
            <a:xfrm>
              <a:off x="4052929" y="1884930"/>
              <a:ext cx="0" cy="665753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C75CBCF8-5F6B-7DB6-9CF0-DF8E579FDA0E}"/>
              </a:ext>
            </a:extLst>
          </p:cNvPr>
          <p:cNvGrpSpPr/>
          <p:nvPr/>
        </p:nvGrpSpPr>
        <p:grpSpPr>
          <a:xfrm>
            <a:off x="9818728" y="1291205"/>
            <a:ext cx="2181185" cy="665753"/>
            <a:chOff x="4052929" y="1884930"/>
            <a:chExt cx="2137310" cy="665753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ABCD5E39-699B-C3FF-8E80-44B42A71B80B}"/>
                </a:ext>
              </a:extLst>
            </p:cNvPr>
            <p:cNvSpPr/>
            <p:nvPr/>
          </p:nvSpPr>
          <p:spPr>
            <a:xfrm>
              <a:off x="4052929" y="1884931"/>
              <a:ext cx="2137310" cy="394876"/>
            </a:xfrm>
            <a:prstGeom prst="rect">
              <a:avLst/>
            </a:prstGeom>
            <a:solidFill>
              <a:srgbClr val="F6CDD3"/>
            </a:solidFill>
            <a:ln>
              <a:solidFill>
                <a:srgbClr val="F6CDD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altLang="en-US" sz="1000">
                  <a:solidFill>
                    <a:schemeClr val="tx1"/>
                  </a:solidFill>
                  <a:latin typeface="Arial" panose="020B0604020202020204" pitchFamily="34" charset="0"/>
                </a:rPr>
                <a:t>A new </a:t>
              </a:r>
              <a:r>
                <a:rPr lang="en-US" altLang="en-US" sz="1000" b="1">
                  <a:solidFill>
                    <a:schemeClr val="tx1"/>
                  </a:solidFill>
                  <a:latin typeface="Arial" panose="020B0604020202020204" pitchFamily="34" charset="0"/>
                </a:rPr>
                <a:t>dashboard </a:t>
              </a:r>
              <a:r>
                <a:rPr lang="en-US" altLang="en-US" sz="1000">
                  <a:solidFill>
                    <a:schemeClr val="tx1"/>
                  </a:solidFill>
                  <a:latin typeface="Arial" panose="020B0604020202020204" pitchFamily="34" charset="0"/>
                </a:rPr>
                <a:t>with </a:t>
              </a:r>
              <a:r>
                <a:rPr lang="en-US" altLang="en-US" sz="1000" b="1">
                  <a:solidFill>
                    <a:schemeClr val="tx1"/>
                  </a:solidFill>
                  <a:latin typeface="Arial" panose="020B0604020202020204" pitchFamily="34" charset="0"/>
                </a:rPr>
                <a:t>personalized recommendations </a:t>
              </a:r>
            </a:p>
          </p:txBody>
        </p: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7595260E-DE19-90C3-87AF-49303CB8832B}"/>
                </a:ext>
              </a:extLst>
            </p:cNvPr>
            <p:cNvCxnSpPr>
              <a:cxnSpLocks/>
            </p:cNvCxnSpPr>
            <p:nvPr/>
          </p:nvCxnSpPr>
          <p:spPr>
            <a:xfrm>
              <a:off x="4052929" y="1884930"/>
              <a:ext cx="0" cy="665753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54" name="TextBox 153">
            <a:extLst>
              <a:ext uri="{FF2B5EF4-FFF2-40B4-BE49-F238E27FC236}">
                <a16:creationId xmlns:a16="http://schemas.microsoft.com/office/drawing/2014/main" id="{2CD3231F-191C-6FBB-8B9D-70957972F146}"/>
              </a:ext>
            </a:extLst>
          </p:cNvPr>
          <p:cNvSpPr txBox="1"/>
          <p:nvPr/>
        </p:nvSpPr>
        <p:spPr>
          <a:xfrm>
            <a:off x="164758" y="439842"/>
            <a:ext cx="108152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i="1">
                <a:solidFill>
                  <a:srgbClr val="9D1E27"/>
                </a:solidFill>
              </a:rPr>
              <a:t>Exhibit 2: Revamping Reward Redemption  &amp; Expense Management</a:t>
            </a:r>
          </a:p>
        </p:txBody>
      </p:sp>
    </p:spTree>
    <p:extLst>
      <p:ext uri="{BB962C8B-B14F-4D97-AF65-F5344CB8AC3E}">
        <p14:creationId xmlns:p14="http://schemas.microsoft.com/office/powerpoint/2010/main" val="19203656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C116DE-DEA2-E0C4-0CFF-D7B3E815CC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4" descr="A red rectangular sign with white text&#10;&#10;AI-generated content may be incorrect.">
            <a:extLst>
              <a:ext uri="{FF2B5EF4-FFF2-40B4-BE49-F238E27FC236}">
                <a16:creationId xmlns:a16="http://schemas.microsoft.com/office/drawing/2014/main" id="{72B6C2B9-2E0C-8791-C5A9-9C68827093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8612" t="30022" r="8263" b="29469"/>
          <a:stretch>
            <a:fillRect/>
          </a:stretch>
        </p:blipFill>
        <p:spPr>
          <a:xfrm>
            <a:off x="11157547" y="6458550"/>
            <a:ext cx="991635" cy="36271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203D817-BF9C-35EB-1551-D8568847E5FF}"/>
              </a:ext>
            </a:extLst>
          </p:cNvPr>
          <p:cNvSpPr txBox="1"/>
          <p:nvPr/>
        </p:nvSpPr>
        <p:spPr>
          <a:xfrm>
            <a:off x="4052491" y="401500"/>
            <a:ext cx="4087018" cy="374571"/>
          </a:xfrm>
          <a:prstGeom prst="roundRect">
            <a:avLst/>
          </a:prstGeom>
          <a:solidFill>
            <a:srgbClr val="9D1E2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Behind the Scenes of On-Prem RAG LLM</a:t>
            </a: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A931B4E5-6C8D-9383-AE27-6A58E58578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5259696"/>
              </p:ext>
            </p:extLst>
          </p:nvPr>
        </p:nvGraphicFramePr>
        <p:xfrm>
          <a:off x="192088" y="1070951"/>
          <a:ext cx="5854700" cy="17446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28EE1B10-78C3-972D-4679-FCCAD752B3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3812710"/>
              </p:ext>
            </p:extLst>
          </p:nvPr>
        </p:nvGraphicFramePr>
        <p:xfrm>
          <a:off x="6253956" y="1077913"/>
          <a:ext cx="5575300" cy="2495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AB604452-5286-1E4F-1B49-031D107222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7081918"/>
              </p:ext>
            </p:extLst>
          </p:nvPr>
        </p:nvGraphicFramePr>
        <p:xfrm>
          <a:off x="369094" y="3745440"/>
          <a:ext cx="5267325" cy="28863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58F4C4CE-4AB0-CC36-EAEC-7E6C458185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1446441"/>
              </p:ext>
            </p:extLst>
          </p:nvPr>
        </p:nvGraphicFramePr>
        <p:xfrm>
          <a:off x="6096000" y="3529013"/>
          <a:ext cx="5903913" cy="31765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3A4299D2-31D6-F98A-9CE2-A5C9FFE7A713}"/>
              </a:ext>
            </a:extLst>
          </p:cNvPr>
          <p:cNvSpPr txBox="1"/>
          <p:nvPr/>
        </p:nvSpPr>
        <p:spPr>
          <a:xfrm>
            <a:off x="6038850" y="3565526"/>
            <a:ext cx="23276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>
                <a:solidFill>
                  <a:srgbClr val="9D1E27"/>
                </a:solidFill>
              </a:rPr>
              <a:t>Feasibility &amp; Rollou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70E0165-49C1-FFCD-62B4-E45FD3F5FBCD}"/>
              </a:ext>
            </a:extLst>
          </p:cNvPr>
          <p:cNvSpPr txBox="1"/>
          <p:nvPr/>
        </p:nvSpPr>
        <p:spPr>
          <a:xfrm>
            <a:off x="369093" y="3388797"/>
            <a:ext cx="23276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>
                <a:solidFill>
                  <a:srgbClr val="9D1E27"/>
                </a:solidFill>
                <a:highlight>
                  <a:srgbClr val="FFFF00"/>
                </a:highlight>
              </a:rPr>
              <a:t>Feasibility &amp; Rollout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33BABD8-B22E-A426-BA85-62228D8BDF95}"/>
              </a:ext>
            </a:extLst>
          </p:cNvPr>
          <p:cNvSpPr txBox="1"/>
          <p:nvPr/>
        </p:nvSpPr>
        <p:spPr>
          <a:xfrm>
            <a:off x="6096000" y="704454"/>
            <a:ext cx="14101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>
                <a:solidFill>
                  <a:srgbClr val="9D1E27"/>
                </a:solidFill>
              </a:rPr>
              <a:t>Infra &amp; Cos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1F053D-7314-5ADF-1587-21E281900D60}"/>
              </a:ext>
            </a:extLst>
          </p:cNvPr>
          <p:cNvSpPr txBox="1"/>
          <p:nvPr/>
        </p:nvSpPr>
        <p:spPr>
          <a:xfrm>
            <a:off x="192088" y="704454"/>
            <a:ext cx="14944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>
                <a:solidFill>
                  <a:srgbClr val="9D1E27"/>
                </a:solidFill>
              </a:rPr>
              <a:t>Architecture</a:t>
            </a:r>
          </a:p>
        </p:txBody>
      </p:sp>
      <p:sp>
        <p:nvSpPr>
          <p:cNvPr id="17" name="Arrow: Chevron 10">
            <a:extLst>
              <a:ext uri="{FF2B5EF4-FFF2-40B4-BE49-F238E27FC236}">
                <a16:creationId xmlns:a16="http://schemas.microsoft.com/office/drawing/2014/main" id="{C53909DE-0AFF-1322-4DCC-ECF0206FB9F3}"/>
              </a:ext>
            </a:extLst>
          </p:cNvPr>
          <p:cNvSpPr/>
          <p:nvPr/>
        </p:nvSpPr>
        <p:spPr>
          <a:xfrm>
            <a:off x="2457845" y="0"/>
            <a:ext cx="2530236" cy="324000"/>
          </a:xfrm>
          <a:prstGeom prst="chevron">
            <a:avLst>
              <a:gd name="adj" fmla="val 34868"/>
            </a:avLst>
          </a:prstGeom>
          <a:solidFill>
            <a:srgbClr val="9D1E27">
              <a:alpha val="50196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IN" sz="1200" b="1">
                <a:solidFill>
                  <a:srgbClr val="9D1E27"/>
                </a:solidFill>
                <a:cs typeface="Calibri" panose="020F0502020204030204" pitchFamily="34" charset="0"/>
              </a:rPr>
              <a:t>Slide 2: Gaps &amp; Solution </a:t>
            </a: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A98624B1-7CF9-964D-74E0-2EC775CE8EF7}"/>
              </a:ext>
            </a:extLst>
          </p:cNvPr>
          <p:cNvSpPr/>
          <p:nvPr/>
        </p:nvSpPr>
        <p:spPr>
          <a:xfrm>
            <a:off x="15235" y="3275"/>
            <a:ext cx="2489044" cy="324000"/>
          </a:xfrm>
          <a:prstGeom prst="homePlate">
            <a:avLst>
              <a:gd name="adj" fmla="val 34211"/>
            </a:avLst>
          </a:prstGeom>
          <a:solidFill>
            <a:srgbClr val="9D1E27">
              <a:alpha val="50196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008" tIns="32004" rIns="97002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IN" sz="1200" b="1">
                <a:solidFill>
                  <a:srgbClr val="9D1E27"/>
                </a:solidFill>
                <a:cs typeface="Calibri" panose="020F0502020204030204" pitchFamily="34" charset="0"/>
              </a:rPr>
              <a:t>Slide 1: Research &amp; Positioning</a:t>
            </a:r>
          </a:p>
        </p:txBody>
      </p:sp>
      <p:sp>
        <p:nvSpPr>
          <p:cNvPr id="19" name="Arrow: Chevron 10">
            <a:extLst>
              <a:ext uri="{FF2B5EF4-FFF2-40B4-BE49-F238E27FC236}">
                <a16:creationId xmlns:a16="http://schemas.microsoft.com/office/drawing/2014/main" id="{ADB60A6B-4BA7-C287-0B6C-E2B58ADC34B9}"/>
              </a:ext>
            </a:extLst>
          </p:cNvPr>
          <p:cNvSpPr/>
          <p:nvPr/>
        </p:nvSpPr>
        <p:spPr>
          <a:xfrm>
            <a:off x="4941388" y="0"/>
            <a:ext cx="2483543" cy="324000"/>
          </a:xfrm>
          <a:prstGeom prst="chevron">
            <a:avLst>
              <a:gd name="adj" fmla="val 34868"/>
            </a:avLst>
          </a:prstGeom>
          <a:solidFill>
            <a:srgbClr val="9D1E27">
              <a:alpha val="50196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US" sz="1200" b="1">
                <a:solidFill>
                  <a:srgbClr val="9D1E27"/>
                </a:solidFill>
                <a:cs typeface="Calibri" panose="020F0502020204030204" pitchFamily="34" charset="0"/>
              </a:rPr>
              <a:t>E</a:t>
            </a:r>
            <a:r>
              <a:rPr lang="en-IN" sz="1200" b="1" err="1">
                <a:solidFill>
                  <a:srgbClr val="9D1E27"/>
                </a:solidFill>
                <a:cs typeface="Calibri" panose="020F0502020204030204" pitchFamily="34" charset="0"/>
              </a:rPr>
              <a:t>xhibit</a:t>
            </a:r>
            <a:r>
              <a:rPr lang="en-IN" sz="1200" b="1">
                <a:solidFill>
                  <a:srgbClr val="9D1E27"/>
                </a:solidFill>
                <a:cs typeface="Calibri" panose="020F0502020204030204" pitchFamily="34" charset="0"/>
              </a:rPr>
              <a:t> 1 : Search 2.0 </a:t>
            </a:r>
          </a:p>
        </p:txBody>
      </p:sp>
      <p:sp>
        <p:nvSpPr>
          <p:cNvPr id="20" name="Arrow: Chevron 10">
            <a:extLst>
              <a:ext uri="{FF2B5EF4-FFF2-40B4-BE49-F238E27FC236}">
                <a16:creationId xmlns:a16="http://schemas.microsoft.com/office/drawing/2014/main" id="{A1435AE8-AD39-7BA2-90FD-E060F51A3C60}"/>
              </a:ext>
            </a:extLst>
          </p:cNvPr>
          <p:cNvSpPr/>
          <p:nvPr/>
        </p:nvSpPr>
        <p:spPr>
          <a:xfrm>
            <a:off x="7383998" y="0"/>
            <a:ext cx="2309224" cy="324000"/>
          </a:xfrm>
          <a:prstGeom prst="chevron">
            <a:avLst>
              <a:gd name="adj" fmla="val 34868"/>
            </a:avLst>
          </a:prstGeom>
          <a:solidFill>
            <a:srgbClr val="9D1E27">
              <a:alpha val="50196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IN" sz="1200" b="1">
                <a:solidFill>
                  <a:srgbClr val="9D1E27"/>
                </a:solidFill>
                <a:cs typeface="Calibri" panose="020F0502020204030204" pitchFamily="34" charset="0"/>
              </a:rPr>
              <a:t>Exhibit 2 : Recommended Rewards </a:t>
            </a:r>
          </a:p>
        </p:txBody>
      </p:sp>
      <p:sp>
        <p:nvSpPr>
          <p:cNvPr id="21" name="Arrow: Chevron 10">
            <a:extLst>
              <a:ext uri="{FF2B5EF4-FFF2-40B4-BE49-F238E27FC236}">
                <a16:creationId xmlns:a16="http://schemas.microsoft.com/office/drawing/2014/main" id="{B7A9EF45-337D-4BA0-F752-11D402DE5FCF}"/>
              </a:ext>
            </a:extLst>
          </p:cNvPr>
          <p:cNvSpPr/>
          <p:nvPr/>
        </p:nvSpPr>
        <p:spPr>
          <a:xfrm>
            <a:off x="9693222" y="0"/>
            <a:ext cx="2483543" cy="324000"/>
          </a:xfrm>
          <a:prstGeom prst="chevron">
            <a:avLst>
              <a:gd name="adj" fmla="val 34868"/>
            </a:avLst>
          </a:prstGeom>
          <a:solidFill>
            <a:srgbClr val="9D1E27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2004" rIns="91440" bIns="32004" numCol="1" spcCol="1270" anchor="ctr" anchorCtr="0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en-US" sz="1200" b="1">
                <a:solidFill>
                  <a:schemeClr val="bg1"/>
                </a:solidFill>
                <a:cs typeface="Calibri" panose="020F0502020204030204" pitchFamily="34" charset="0"/>
              </a:rPr>
              <a:t>E</a:t>
            </a:r>
            <a:r>
              <a:rPr lang="en-IN" sz="1200" b="1" err="1">
                <a:solidFill>
                  <a:schemeClr val="bg1"/>
                </a:solidFill>
                <a:cs typeface="Calibri" panose="020F0502020204030204" pitchFamily="34" charset="0"/>
              </a:rPr>
              <a:t>xhibit</a:t>
            </a:r>
            <a:r>
              <a:rPr lang="en-IN" sz="1200" b="1">
                <a:solidFill>
                  <a:schemeClr val="bg1"/>
                </a:solidFill>
                <a:cs typeface="Calibri" panose="020F0502020204030204" pitchFamily="34" charset="0"/>
              </a:rPr>
              <a:t> 3 : RAG/Costing/</a:t>
            </a:r>
            <a:r>
              <a:rPr lang="en-IN" sz="1200" b="1" err="1">
                <a:solidFill>
                  <a:schemeClr val="bg1"/>
                </a:solidFill>
                <a:cs typeface="Calibri" panose="020F0502020204030204" pitchFamily="34" charset="0"/>
              </a:rPr>
              <a:t>Feasability</a:t>
            </a:r>
            <a:r>
              <a:rPr lang="en-IN" sz="1200" b="1">
                <a:solidFill>
                  <a:schemeClr val="bg1"/>
                </a:solidFill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834132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6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edang Poddar</dc:creator>
  <cp:revision>1</cp:revision>
  <dcterms:created xsi:type="dcterms:W3CDTF">2025-08-30T09:51:16Z</dcterms:created>
  <dcterms:modified xsi:type="dcterms:W3CDTF">2025-09-10T21:10:50Z</dcterms:modified>
</cp:coreProperties>
</file>